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280" r:id="rId1"/>
  </p:sldMasterIdLst>
  <p:notesMasterIdLst>
    <p:notesMasterId r:id="rId20"/>
  </p:notesMasterIdLst>
  <p:sldIdLst>
    <p:sldId id="446" r:id="rId2"/>
    <p:sldId id="429" r:id="rId3"/>
    <p:sldId id="439" r:id="rId4"/>
    <p:sldId id="335" r:id="rId5"/>
    <p:sldId id="407" r:id="rId6"/>
    <p:sldId id="344" r:id="rId7"/>
    <p:sldId id="441" r:id="rId8"/>
    <p:sldId id="351" r:id="rId9"/>
    <p:sldId id="444" r:id="rId10"/>
    <p:sldId id="411" r:id="rId11"/>
    <p:sldId id="357" r:id="rId12"/>
    <p:sldId id="438" r:id="rId13"/>
    <p:sldId id="361" r:id="rId14"/>
    <p:sldId id="427" r:id="rId15"/>
    <p:sldId id="360" r:id="rId16"/>
    <p:sldId id="415" r:id="rId17"/>
    <p:sldId id="428" r:id="rId18"/>
    <p:sldId id="445" r:id="rId19"/>
  </p:sldIdLst>
  <p:sldSz cx="12192000" cy="6858000"/>
  <p:notesSz cx="6797675" cy="9926638"/>
  <p:custDataLst>
    <p:tags r:id="rId2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4C2EB17-D588-41C0-8F00-4B6916FC57BE}">
          <p14:sldIdLst>
            <p14:sldId id="446"/>
            <p14:sldId id="429"/>
            <p14:sldId id="439"/>
            <p14:sldId id="335"/>
            <p14:sldId id="407"/>
            <p14:sldId id="344"/>
            <p14:sldId id="441"/>
            <p14:sldId id="351"/>
            <p14:sldId id="444"/>
            <p14:sldId id="411"/>
            <p14:sldId id="357"/>
            <p14:sldId id="438"/>
            <p14:sldId id="361"/>
            <p14:sldId id="427"/>
            <p14:sldId id="360"/>
            <p14:sldId id="415"/>
            <p14:sldId id="428"/>
            <p14:sldId id="44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640" userDrawn="1">
          <p15:clr>
            <a:srgbClr val="A4A3A4"/>
          </p15:clr>
        </p15:guide>
        <p15:guide id="2" pos="461" userDrawn="1">
          <p15:clr>
            <a:srgbClr val="A4A3A4"/>
          </p15:clr>
        </p15:guide>
        <p15:guide id="3" pos="724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дреева Татьяна Александровна" initials="АТА" lastIdx="4" clrIdx="0">
    <p:extLst>
      <p:ext uri="{19B8F6BF-5375-455C-9EA6-DF929625EA0E}">
        <p15:presenceInfo xmlns:p15="http://schemas.microsoft.com/office/powerpoint/2012/main" userId="S-1-5-21-2509222527-3473664192-1900209780-716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464"/>
    <a:srgbClr val="FFD633"/>
    <a:srgbClr val="E5D8D3"/>
    <a:srgbClr val="006EF3"/>
    <a:srgbClr val="191919"/>
    <a:srgbClr val="F1F5F9"/>
    <a:srgbClr val="D8E4F0"/>
    <a:srgbClr val="006EF0"/>
    <a:srgbClr val="9F9B9B"/>
    <a:srgbClr val="7030A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26" autoAdjust="0"/>
    <p:restoredTop sz="96405"/>
  </p:normalViewPr>
  <p:slideViewPr>
    <p:cSldViewPr snapToGrid="0">
      <p:cViewPr>
        <p:scale>
          <a:sx n="100" d="100"/>
          <a:sy n="100" d="100"/>
        </p:scale>
        <p:origin x="1152" y="420"/>
      </p:cViewPr>
      <p:guideLst>
        <p:guide orient="horz" pos="640"/>
        <p:guide pos="461"/>
        <p:guide pos="724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3F9436-A9B8-4B98-BD44-CDF915E50313}" type="datetimeFigureOut">
              <a:rPr lang="ru-RU" smtClean="0"/>
              <a:t>25.08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DEDC38-8EB6-419F-924F-2F29B00D958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56847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58055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634135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275891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ED8F54A-9430-4949-B95F-C543C1DE53FA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791363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DEDC38-8EB6-419F-924F-2F29B00D9580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969888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DEDC38-8EB6-419F-924F-2F29B00D9580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61443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DEDC38-8EB6-419F-924F-2F29B00D9580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432070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0DEDC38-8EB6-419F-924F-2F29B00D9580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978252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85173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30591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2090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480671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36948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8599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8.2022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29738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8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657201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8.2022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083915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78244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BDA1A0-FDD0-4C35-BA76-FD41A7A10CAC}" type="datetimeFigureOut">
              <a:rPr lang="ru-RU" smtClean="0"/>
              <a:t>25.08.2022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3770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BDA1A0-FDD0-4C35-BA76-FD41A7A10CAC}" type="datetimeFigureOut">
              <a:rPr lang="ru-RU" smtClean="0"/>
              <a:t>25.08.2022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F3B93FD-6A42-434A-9644-A30C2B9C4589}" type="slidenum">
              <a:rPr lang="ru-RU" smtClean="0"/>
              <a:t>‹#›</a:t>
            </a:fld>
            <a:endParaRPr lang="ru-RU"/>
          </a:p>
        </p:txBody>
      </p:sp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5385516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6" name="Слайд think-cell" r:id="rId15" imgW="347" imgH="348" progId="TCLayout.ActiveDocument.1">
                  <p:embed/>
                </p:oleObj>
              </mc:Choice>
              <mc:Fallback>
                <p:oleObj name="Слайд think-cell" r:id="rId15" imgW="347" imgH="348" progId="TCLayout.ActiveDocument.1">
                  <p:embed/>
                  <p:pic>
                    <p:nvPicPr>
                      <p:cNvPr id="7" name="Объект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970563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1" r:id="rId1"/>
    <p:sldLayoutId id="2147484282" r:id="rId2"/>
    <p:sldLayoutId id="2147484283" r:id="rId3"/>
    <p:sldLayoutId id="2147484284" r:id="rId4"/>
    <p:sldLayoutId id="2147484285" r:id="rId5"/>
    <p:sldLayoutId id="2147484286" r:id="rId6"/>
    <p:sldLayoutId id="2147484287" r:id="rId7"/>
    <p:sldLayoutId id="2147484288" r:id="rId8"/>
    <p:sldLayoutId id="2147484289" r:id="rId9"/>
    <p:sldLayoutId id="2147484290" r:id="rId10"/>
    <p:sldLayoutId id="214748429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46.png"/><Relationship Id="rId3" Type="http://schemas.openxmlformats.org/officeDocument/2006/relationships/image" Target="../media/image36.png"/><Relationship Id="rId7" Type="http://schemas.openxmlformats.org/officeDocument/2006/relationships/image" Target="../media/image40.png"/><Relationship Id="rId12" Type="http://schemas.openxmlformats.org/officeDocument/2006/relationships/image" Target="../media/image45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29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9.png"/><Relationship Id="rId11" Type="http://schemas.openxmlformats.org/officeDocument/2006/relationships/image" Target="../media/image44.png"/><Relationship Id="rId5" Type="http://schemas.openxmlformats.org/officeDocument/2006/relationships/image" Target="../media/image38.png"/><Relationship Id="rId15" Type="http://schemas.openxmlformats.org/officeDocument/2006/relationships/image" Target="../media/image10.png"/><Relationship Id="rId10" Type="http://schemas.openxmlformats.org/officeDocument/2006/relationships/image" Target="../media/image43.png"/><Relationship Id="rId4" Type="http://schemas.openxmlformats.org/officeDocument/2006/relationships/image" Target="../media/image37.png"/><Relationship Id="rId9" Type="http://schemas.openxmlformats.org/officeDocument/2006/relationships/image" Target="../media/image42.png"/><Relationship Id="rId14" Type="http://schemas.openxmlformats.org/officeDocument/2006/relationships/image" Target="../media/image47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gi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jpeg"/><Relationship Id="rId3" Type="http://schemas.openxmlformats.org/officeDocument/2006/relationships/image" Target="../media/image51.png"/><Relationship Id="rId7" Type="http://schemas.openxmlformats.org/officeDocument/2006/relationships/image" Target="../media/image55.jpe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4.jpeg"/><Relationship Id="rId11" Type="http://schemas.openxmlformats.org/officeDocument/2006/relationships/image" Target="../media/image10.png"/><Relationship Id="rId5" Type="http://schemas.openxmlformats.org/officeDocument/2006/relationships/image" Target="../media/image53.png"/><Relationship Id="rId10" Type="http://schemas.openxmlformats.org/officeDocument/2006/relationships/image" Target="../media/image29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jpeg"/><Relationship Id="rId3" Type="http://schemas.openxmlformats.org/officeDocument/2006/relationships/image" Target="../media/image37.png"/><Relationship Id="rId7" Type="http://schemas.openxmlformats.org/officeDocument/2006/relationships/image" Target="../media/image60.jpe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9.jpeg"/><Relationship Id="rId11" Type="http://schemas.openxmlformats.org/officeDocument/2006/relationships/image" Target="../media/image10.png"/><Relationship Id="rId5" Type="http://schemas.openxmlformats.org/officeDocument/2006/relationships/image" Target="../media/image58.png"/><Relationship Id="rId10" Type="http://schemas.openxmlformats.org/officeDocument/2006/relationships/image" Target="../media/image29.png"/><Relationship Id="rId4" Type="http://schemas.openxmlformats.org/officeDocument/2006/relationships/image" Target="../media/image38.png"/><Relationship Id="rId9" Type="http://schemas.openxmlformats.org/officeDocument/2006/relationships/image" Target="../media/image62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3" Type="http://schemas.openxmlformats.org/officeDocument/2006/relationships/image" Target="../media/image63.png"/><Relationship Id="rId7" Type="http://schemas.openxmlformats.org/officeDocument/2006/relationships/image" Target="../media/image67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10" Type="http://schemas.openxmlformats.org/officeDocument/2006/relationships/image" Target="../media/image33.png"/><Relationship Id="rId4" Type="http://schemas.openxmlformats.org/officeDocument/2006/relationships/image" Target="../media/image64.png"/><Relationship Id="rId9" Type="http://schemas.openxmlformats.org/officeDocument/2006/relationships/image" Target="../media/image51.pn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69.png"/><Relationship Id="rId7" Type="http://schemas.openxmlformats.org/officeDocument/2006/relationships/image" Target="../media/image6.png"/><Relationship Id="rId2" Type="http://schemas.openxmlformats.org/officeDocument/2006/relationships/image" Target="../media/image6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9.png"/><Relationship Id="rId5" Type="http://schemas.openxmlformats.org/officeDocument/2006/relationships/image" Target="../media/image71.png"/><Relationship Id="rId10" Type="http://schemas.openxmlformats.org/officeDocument/2006/relationships/image" Target="../media/image73.gif"/><Relationship Id="rId4" Type="http://schemas.openxmlformats.org/officeDocument/2006/relationships/image" Target="../media/image70.png"/><Relationship Id="rId9" Type="http://schemas.openxmlformats.org/officeDocument/2006/relationships/image" Target="../media/image72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1.png"/><Relationship Id="rId18" Type="http://schemas.openxmlformats.org/officeDocument/2006/relationships/image" Target="../media/image86.png"/><Relationship Id="rId3" Type="http://schemas.openxmlformats.org/officeDocument/2006/relationships/image" Target="../media/image6.png"/><Relationship Id="rId21" Type="http://schemas.openxmlformats.org/officeDocument/2006/relationships/image" Target="../media/image89.png"/><Relationship Id="rId7" Type="http://schemas.openxmlformats.org/officeDocument/2006/relationships/image" Target="../media/image75.png"/><Relationship Id="rId12" Type="http://schemas.openxmlformats.org/officeDocument/2006/relationships/image" Target="../media/image80.png"/><Relationship Id="rId17" Type="http://schemas.openxmlformats.org/officeDocument/2006/relationships/image" Target="../media/image85.png"/><Relationship Id="rId2" Type="http://schemas.openxmlformats.org/officeDocument/2006/relationships/image" Target="../media/image74.png"/><Relationship Id="rId16" Type="http://schemas.openxmlformats.org/officeDocument/2006/relationships/image" Target="../media/image84.png"/><Relationship Id="rId20" Type="http://schemas.openxmlformats.org/officeDocument/2006/relationships/image" Target="../media/image88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3.gif"/><Relationship Id="rId11" Type="http://schemas.openxmlformats.org/officeDocument/2006/relationships/image" Target="../media/image79.png"/><Relationship Id="rId24" Type="http://schemas.openxmlformats.org/officeDocument/2006/relationships/image" Target="../media/image92.png"/><Relationship Id="rId5" Type="http://schemas.openxmlformats.org/officeDocument/2006/relationships/image" Target="../media/image72.png"/><Relationship Id="rId15" Type="http://schemas.openxmlformats.org/officeDocument/2006/relationships/image" Target="../media/image83.png"/><Relationship Id="rId23" Type="http://schemas.openxmlformats.org/officeDocument/2006/relationships/image" Target="../media/image91.png"/><Relationship Id="rId10" Type="http://schemas.openxmlformats.org/officeDocument/2006/relationships/image" Target="../media/image78.png"/><Relationship Id="rId19" Type="http://schemas.openxmlformats.org/officeDocument/2006/relationships/image" Target="../media/image87.png"/><Relationship Id="rId4" Type="http://schemas.openxmlformats.org/officeDocument/2006/relationships/image" Target="../media/image10.png"/><Relationship Id="rId9" Type="http://schemas.openxmlformats.org/officeDocument/2006/relationships/image" Target="../media/image77.png"/><Relationship Id="rId14" Type="http://schemas.openxmlformats.org/officeDocument/2006/relationships/image" Target="../media/image82.png"/><Relationship Id="rId22" Type="http://schemas.openxmlformats.org/officeDocument/2006/relationships/image" Target="../media/image9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gif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4.gi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7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image" Target="../media/image10.png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5" Type="http://schemas.openxmlformats.org/officeDocument/2006/relationships/image" Target="../media/image12.png"/><Relationship Id="rId15" Type="http://schemas.openxmlformats.org/officeDocument/2006/relationships/image" Target="../media/image22.png"/><Relationship Id="rId10" Type="http://schemas.openxmlformats.org/officeDocument/2006/relationships/image" Target="../media/image17.png"/><Relationship Id="rId4" Type="http://schemas.openxmlformats.org/officeDocument/2006/relationships/image" Target="../media/image11.png"/><Relationship Id="rId9" Type="http://schemas.openxmlformats.org/officeDocument/2006/relationships/image" Target="../media/image16.png"/><Relationship Id="rId14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7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8.png"/><Relationship Id="rId12" Type="http://schemas.openxmlformats.org/officeDocument/2006/relationships/image" Target="../media/image26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11" Type="http://schemas.openxmlformats.org/officeDocument/2006/relationships/image" Target="../media/image25.png"/><Relationship Id="rId5" Type="http://schemas.openxmlformats.org/officeDocument/2006/relationships/oleObject" Target="../embeddings/oleObject4.bin"/><Relationship Id="rId15" Type="http://schemas.openxmlformats.org/officeDocument/2006/relationships/image" Target="../media/image29.png"/><Relationship Id="rId10" Type="http://schemas.openxmlformats.org/officeDocument/2006/relationships/image" Target="../media/image24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7.png"/><Relationship Id="rId14" Type="http://schemas.openxmlformats.org/officeDocument/2006/relationships/image" Target="../media/image28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7.pn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png"/><Relationship Id="rId5" Type="http://schemas.openxmlformats.org/officeDocument/2006/relationships/image" Target="../media/image31.gif"/><Relationship Id="rId4" Type="http://schemas.openxmlformats.org/officeDocument/2006/relationships/image" Target="../media/image2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3" Type="http://schemas.openxmlformats.org/officeDocument/2006/relationships/image" Target="../media/image7.png"/><Relationship Id="rId7" Type="http://schemas.openxmlformats.org/officeDocument/2006/relationships/image" Target="../media/image31.gi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2.png"/><Relationship Id="rId10" Type="http://schemas.openxmlformats.org/officeDocument/2006/relationships/image" Target="../media/image35.png"/><Relationship Id="rId4" Type="http://schemas.openxmlformats.org/officeDocument/2006/relationships/image" Target="../media/image10.png"/><Relationship Id="rId9" Type="http://schemas.openxmlformats.org/officeDocument/2006/relationships/image" Target="../media/image3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1112" y="1"/>
            <a:ext cx="12209462" cy="4596391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0" y="3873501"/>
            <a:ext cx="12198350" cy="29845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9168190" y="6099617"/>
            <a:ext cx="1762741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/>
          <p:cNvSpPr/>
          <p:nvPr/>
        </p:nvSpPr>
        <p:spPr>
          <a:xfrm>
            <a:off x="8590330" y="6007284"/>
            <a:ext cx="494879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944767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оссия</a:t>
            </a:r>
            <a:endParaRPr lang="ru-RU" sz="1200" dirty="0">
              <a:solidFill>
                <a:schemeClr val="bg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1135743" y="6007284"/>
            <a:ext cx="381515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defTabSz="944767" fontAlgn="auto">
              <a:spcBef>
                <a:spcPts val="0"/>
              </a:spcBef>
              <a:spcAft>
                <a:spcPts val="0"/>
              </a:spcAft>
            </a:pPr>
            <a:r>
              <a:rPr lang="ru-RU" sz="1200" dirty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2022 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87342" y="6099617"/>
            <a:ext cx="5200999" cy="0"/>
          </a:xfrm>
          <a:prstGeom prst="line">
            <a:avLst/>
          </a:prstGeom>
          <a:ln w="190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0" name="Рисунок 1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21" y="5793627"/>
            <a:ext cx="2250021" cy="481609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745221" y="4138216"/>
            <a:ext cx="10246074" cy="1664247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defTabSz="944767" fontAlgn="auto">
              <a:lnSpc>
                <a:spcPts val="4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4000" dirty="0" smtClean="0">
                <a:gradFill flip="none" rotWithShape="1">
                  <a:gsLst>
                    <a:gs pos="93000">
                      <a:schemeClr val="bg2"/>
                    </a:gs>
                    <a:gs pos="0">
                      <a:schemeClr val="accent2"/>
                    </a:gs>
                  </a:gsLst>
                  <a:lin ang="0" scaled="0"/>
                  <a:tileRect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Как и чем Корпорация МСП может помочь предпринимателям?</a:t>
            </a:r>
            <a:endParaRPr lang="ru-RU" sz="4000" dirty="0">
              <a:gradFill flip="none" rotWithShape="1">
                <a:gsLst>
                  <a:gs pos="93000">
                    <a:schemeClr val="bg2"/>
                  </a:gs>
                  <a:gs pos="0">
                    <a:schemeClr val="accent2"/>
                  </a:gs>
                </a:gsLst>
                <a:lin ang="0" scaled="0"/>
                <a:tileRect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8443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10162" y="4540"/>
            <a:ext cx="547606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0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50244" y="588872"/>
            <a:ext cx="4556754" cy="16619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spcBef>
                <a:spcPts val="361"/>
              </a:spcBef>
              <a:spcAft>
                <a:spcPts val="657"/>
              </a:spcAft>
              <a:defRPr/>
            </a:pPr>
            <a:r>
              <a:rPr lang="ru-RU" sz="3600" spc="-15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Закупки крупнейших заказчиков </a:t>
            </a:r>
            <a:r>
              <a:rPr lang="ru-RU" sz="3600" spc="-15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/>
            </a:r>
            <a:br>
              <a:rPr lang="ru-RU" sz="3600" spc="-15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3600" spc="-15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у </a:t>
            </a:r>
            <a:r>
              <a:rPr lang="ru-RU" sz="3600" spc="-15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субъектов МСП 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5879701" y="3847047"/>
            <a:ext cx="514683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000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Квота по закупкам у субъектов МСП </a:t>
            </a: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5879702" y="4748762"/>
            <a:ext cx="181310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закупки </a:t>
            </a:r>
            <a:br>
              <a:rPr lang="ru-RU" sz="1400" kern="0" spc="-3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</a:br>
            <a:r>
              <a:rPr lang="ru-RU" sz="1400" kern="0" spc="-3" dirty="0" smtClean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о </a:t>
            </a:r>
            <a:r>
              <a:rPr lang="ru-RU" sz="1400" kern="0" spc="-3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«прямым» торгам</a:t>
            </a:r>
          </a:p>
        </p:txBody>
      </p:sp>
      <p:sp>
        <p:nvSpPr>
          <p:cNvPr id="46" name="Прямоугольник 45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5879702" y="4235341"/>
            <a:ext cx="1358327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500" kern="0" spc="-3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20%</a:t>
            </a:r>
            <a:endParaRPr lang="ru-RU" sz="3500" kern="0" spc="-3" dirty="0">
              <a:solidFill>
                <a:schemeClr val="accent2"/>
              </a:solidFill>
              <a:latin typeface="Segoe UI Semibold" panose="020B0702040204020203" pitchFamily="34" charset="0"/>
              <a:ea typeface="+mj-ea"/>
              <a:cs typeface="Segoe UI Semibold" panose="020B0702040204020203" pitchFamily="34" charset="0"/>
            </a:endParaRPr>
          </a:p>
        </p:txBody>
      </p:sp>
      <p:sp>
        <p:nvSpPr>
          <p:cNvPr id="48" name="Прямоугольник 47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8435027" y="4748762"/>
            <a:ext cx="214495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годовой </a:t>
            </a:r>
            <a:r>
              <a:rPr lang="ru-RU" sz="1400" kern="0" spc="-3" dirty="0" smtClean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объем </a:t>
            </a:r>
            <a:r>
              <a:rPr lang="ru-RU" sz="1400" kern="0" spc="-3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закупок </a:t>
            </a:r>
            <a:r>
              <a:rPr lang="ru-RU" sz="1400" kern="0" spc="-3" dirty="0" smtClean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/>
            </a:r>
            <a:br>
              <a:rPr lang="ru-RU" sz="1400" kern="0" spc="-3" dirty="0" smtClean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</a:br>
            <a:r>
              <a:rPr lang="ru-RU" sz="1400" kern="0" spc="-3" dirty="0" smtClean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у </a:t>
            </a:r>
            <a:r>
              <a:rPr lang="ru-RU" sz="1400" kern="0" spc="-3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субъектов МСП </a:t>
            </a: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8435027" y="4235341"/>
            <a:ext cx="1358327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500" kern="0" spc="-3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25%</a:t>
            </a:r>
            <a:endParaRPr lang="ru-RU" sz="3500" kern="0" spc="-3" dirty="0">
              <a:solidFill>
                <a:schemeClr val="accent2"/>
              </a:solidFill>
              <a:latin typeface="Segoe UI Semibold" panose="020B0702040204020203" pitchFamily="34" charset="0"/>
              <a:ea typeface="+mj-ea"/>
              <a:cs typeface="Segoe UI Semibold" panose="020B0702040204020203" pitchFamily="34" charset="0"/>
            </a:endParaRPr>
          </a:p>
        </p:txBody>
      </p:sp>
      <p:sp>
        <p:nvSpPr>
          <p:cNvPr id="52" name="Прямоугольник 51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5879702" y="5444211"/>
            <a:ext cx="5616973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200" kern="0" spc="-3" dirty="0" smtClean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Корпорация МСП контролирует соблюдение квоты закупок </a:t>
            </a:r>
            <a:r>
              <a:rPr lang="ru-RU" sz="1200" kern="0" spc="-3" dirty="0" smtClean="0">
                <a:solidFill>
                  <a:srgbClr val="FF6464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крупнейших заказчиков (</a:t>
            </a:r>
            <a:r>
              <a:rPr lang="en-US" sz="1200" kern="0" spc="-3" dirty="0" smtClean="0">
                <a:solidFill>
                  <a:srgbClr val="FF6464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&gt;</a:t>
            </a:r>
            <a:r>
              <a:rPr lang="ru-RU" sz="1200" kern="0" spc="-3" dirty="0" smtClean="0">
                <a:solidFill>
                  <a:srgbClr val="FF6464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 20 тыс.) </a:t>
            </a:r>
            <a:r>
              <a:rPr lang="ru-RU" sz="1200" kern="0" spc="-3" dirty="0" smtClean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у малого и среднего бизнеса </a:t>
            </a:r>
            <a:endParaRPr lang="ru-RU" sz="1200" kern="0" spc="-3" dirty="0"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55" name="Прямоугольник 54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24664" y="2618730"/>
            <a:ext cx="5737754" cy="27699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pc="-7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Льготные условия участия  </a:t>
            </a:r>
            <a:endParaRPr lang="ru-RU" spc="-7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736294" y="3660656"/>
            <a:ext cx="1603418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ней </a:t>
            </a:r>
            <a:r>
              <a:rPr lang="en-US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–</a:t>
            </a:r>
            <a:r>
              <a:rPr lang="en-US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предельный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срок заключения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договора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1654878" y="3147235"/>
            <a:ext cx="613428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500" kern="0" spc="-3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20</a:t>
            </a:r>
            <a:endParaRPr lang="ru-RU" sz="3500" kern="0" spc="-3" dirty="0">
              <a:solidFill>
                <a:schemeClr val="accent2"/>
              </a:solidFill>
              <a:latin typeface="Segoe UI Semibold" panose="020B0702040204020203" pitchFamily="34" charset="0"/>
              <a:ea typeface="+mj-ea"/>
              <a:cs typeface="Segoe UI Semibold" panose="020B0702040204020203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736293" y="3293428"/>
            <a:ext cx="918585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R="1746"/>
            <a:r>
              <a:rPr lang="ru-RU" sz="1600" kern="0" spc="-3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е </a:t>
            </a:r>
            <a:r>
              <a:rPr lang="ru-RU" sz="1600" kern="0" spc="-3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более 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3260283" y="3671227"/>
            <a:ext cx="2619419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бочих дней – </a:t>
            </a:r>
            <a:endParaRPr lang="ru-RU" sz="1400" kern="0" spc="-3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R="1746"/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ксимальный </a:t>
            </a:r>
            <a:r>
              <a:rPr lang="en-US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платы 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ea typeface="+mj-ea"/>
              <a:cs typeface="Segoe UI" panose="020B0502040204020203" pitchFamily="34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4178868" y="3157806"/>
            <a:ext cx="613428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en-US" sz="3500" kern="0" spc="-3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7</a:t>
            </a:r>
            <a:endParaRPr lang="ru-RU" sz="3500" kern="0" spc="-3" dirty="0">
              <a:solidFill>
                <a:schemeClr val="accent2"/>
              </a:solidFill>
              <a:latin typeface="Segoe UI Semibold" panose="020B0702040204020203" pitchFamily="34" charset="0"/>
              <a:ea typeface="+mj-ea"/>
              <a:cs typeface="Segoe UI Semibold" panose="020B0702040204020203" pitchFamily="34" charset="0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3260283" y="3303999"/>
            <a:ext cx="918585" cy="246221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R="1746"/>
            <a:r>
              <a:rPr lang="ru-RU" sz="1600" kern="0" spc="-3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е </a:t>
            </a:r>
            <a:r>
              <a:rPr lang="ru-RU" sz="1600" kern="0" spc="-3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более </a:t>
            </a:r>
          </a:p>
        </p:txBody>
      </p:sp>
      <p:sp>
        <p:nvSpPr>
          <p:cNvPr id="74" name="Прямоугольник 73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736293" y="5344399"/>
            <a:ext cx="1920705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начальной цены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говора</a:t>
            </a:r>
            <a:r>
              <a:rPr lang="en-US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ельный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змер обеспечения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явки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7" name="Прямоугольник 76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724664" y="4830978"/>
            <a:ext cx="1615047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500" kern="0" spc="-3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2</a:t>
            </a:r>
            <a:r>
              <a:rPr lang="en-US" sz="3500" kern="0" spc="-3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%</a:t>
            </a:r>
            <a:endParaRPr lang="ru-RU" sz="3500" kern="0" spc="-3" dirty="0">
              <a:solidFill>
                <a:schemeClr val="accent2"/>
              </a:solidFill>
              <a:latin typeface="Segoe UI Semibold" panose="020B0702040204020203" pitchFamily="34" charset="0"/>
              <a:ea typeface="+mj-ea"/>
              <a:cs typeface="Segoe UI Semibold" panose="020B0702040204020203" pitchFamily="34" charset="0"/>
            </a:endParaRPr>
          </a:p>
        </p:txBody>
      </p:sp>
      <p:sp>
        <p:nvSpPr>
          <p:cNvPr id="78" name="Прямоугольник 77">
            <a:extLst>
              <a:ext uri="{FF2B5EF4-FFF2-40B4-BE49-F238E27FC236}">
                <a16:creationId xmlns:a16="http://schemas.microsoft.com/office/drawing/2014/main" id="{0BA9FE82-E298-0D4A-814E-FB9D55BC6E63}"/>
              </a:ext>
            </a:extLst>
          </p:cNvPr>
          <p:cNvSpPr/>
          <p:nvPr/>
        </p:nvSpPr>
        <p:spPr>
          <a:xfrm>
            <a:off x="3260283" y="5344399"/>
            <a:ext cx="1984577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 начальной цены договора</a:t>
            </a:r>
            <a:r>
              <a:rPr lang="en-US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–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ельный </a:t>
            </a:r>
            <a:r>
              <a:rPr lang="ru-RU" sz="1400" kern="0" spc="-3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змер обеспечения исполнения </a:t>
            </a:r>
            <a:r>
              <a:rPr lang="ru-RU" sz="1400" kern="0" spc="-3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говора</a:t>
            </a:r>
            <a:endParaRPr lang="ru-RU" sz="1400" kern="0" spc="-3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79" name="Прямоугольник 78">
            <a:extLst>
              <a:ext uri="{FF2B5EF4-FFF2-40B4-BE49-F238E27FC236}">
                <a16:creationId xmlns:a16="http://schemas.microsoft.com/office/drawing/2014/main" id="{72774238-123F-2B4A-A796-E6857FE5C2E2}"/>
              </a:ext>
            </a:extLst>
          </p:cNvPr>
          <p:cNvSpPr/>
          <p:nvPr/>
        </p:nvSpPr>
        <p:spPr>
          <a:xfrm>
            <a:off x="3248654" y="4830978"/>
            <a:ext cx="1615047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en-US" sz="3500" kern="0" spc="-3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+mj-ea"/>
                <a:cs typeface="Segoe UI Semibold" panose="020B0702040204020203" pitchFamily="34" charset="0"/>
              </a:rPr>
              <a:t>5%</a:t>
            </a:r>
            <a:endParaRPr lang="ru-RU" sz="3500" kern="0" spc="-3" dirty="0">
              <a:solidFill>
                <a:schemeClr val="accent2"/>
              </a:solidFill>
              <a:latin typeface="Segoe UI Semibold" panose="020B0702040204020203" pitchFamily="34" charset="0"/>
              <a:ea typeface="+mj-ea"/>
              <a:cs typeface="Segoe UI Semibold" panose="020B0702040204020203" pitchFamily="34" charset="0"/>
            </a:endParaRPr>
          </a:p>
        </p:txBody>
      </p:sp>
      <p:sp>
        <p:nvSpPr>
          <p:cNvPr id="64" name="TextBox 34">
            <a:extLst>
              <a:ext uri="{FF2B5EF4-FFF2-40B4-BE49-F238E27FC236}">
                <a16:creationId xmlns:a16="http://schemas.microsoft.com/office/drawing/2014/main" id="{F6AEA199-107E-1C4F-A0DC-08B9B796B2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17714" y="1593577"/>
            <a:ext cx="5678961" cy="6463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marL="171450" indent="-171450" defTabSz="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200" spc="-12" dirty="0" smtClean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Неприменение </a:t>
            </a:r>
            <a:r>
              <a:rPr lang="ru-RU" altLang="ru-RU" sz="1200" spc="-12" dirty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в 2022 году штрафных санкций </a:t>
            </a:r>
            <a:r>
              <a:rPr lang="ru-RU" altLang="ru-RU" sz="1200" spc="-12" dirty="0">
                <a:solidFill>
                  <a:schemeClr val="tx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за неисполнение </a:t>
            </a:r>
            <a:r>
              <a:rPr lang="ru-RU" altLang="ru-RU" sz="1200" spc="-12" dirty="0" smtClean="0">
                <a:solidFill>
                  <a:schemeClr val="tx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договоров, возможность </a:t>
            </a:r>
            <a:r>
              <a:rPr lang="ru-RU" altLang="ru-RU" sz="1200" spc="-12" dirty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родления сроков </a:t>
            </a:r>
            <a:r>
              <a:rPr lang="ru-RU" altLang="ru-RU" sz="1200" spc="-12" dirty="0" smtClean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х исполнения </a:t>
            </a:r>
            <a:br>
              <a:rPr lang="ru-RU" altLang="ru-RU" sz="1200" spc="-12" dirty="0" smtClean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altLang="ru-RU" sz="1200" spc="-12" dirty="0" smtClean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 </a:t>
            </a:r>
            <a:r>
              <a:rPr lang="ru-RU" altLang="ru-RU" sz="1200" spc="-12" dirty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корректировки цен </a:t>
            </a:r>
            <a:r>
              <a:rPr lang="ru-RU" altLang="ru-RU" sz="1200" spc="-12" dirty="0" smtClean="0">
                <a:solidFill>
                  <a:schemeClr val="tx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в связи с </a:t>
            </a:r>
            <a:r>
              <a:rPr lang="ru-RU" altLang="ru-RU" sz="1200" spc="-12" dirty="0">
                <a:solidFill>
                  <a:schemeClr val="tx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анкционными </a:t>
            </a:r>
            <a:r>
              <a:rPr lang="ru-RU" altLang="ru-RU" sz="1200" spc="-12" dirty="0" smtClean="0">
                <a:solidFill>
                  <a:schemeClr val="tx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ограничениями</a:t>
            </a:r>
            <a:endParaRPr lang="ru-RU" altLang="ru-RU" sz="1200" spc="-12" dirty="0">
              <a:solidFill>
                <a:schemeClr val="tx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68" name="Скругленный прямоугольник 67">
            <a:extLst>
              <a:ext uri="{FF2B5EF4-FFF2-40B4-BE49-F238E27FC236}">
                <a16:creationId xmlns:a16="http://schemas.microsoft.com/office/drawing/2014/main" id="{837E3327-67C7-CF48-A192-F510E0B3FBD5}"/>
              </a:ext>
            </a:extLst>
          </p:cNvPr>
          <p:cNvSpPr/>
          <p:nvPr/>
        </p:nvSpPr>
        <p:spPr>
          <a:xfrm>
            <a:off x="5921925" y="1256185"/>
            <a:ext cx="931059" cy="306467"/>
          </a:xfrm>
          <a:prstGeom prst="round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ctr" defTabSz="554492"/>
            <a:r>
              <a:rPr lang="ru-RU" sz="1200" b="1" spc="-10" dirty="0" smtClean="0">
                <a:solidFill>
                  <a:schemeClr val="bg1"/>
                </a:solidFill>
                <a:latin typeface=""/>
                <a:ea typeface="Segoe UI" panose="020B0502040204020203" pitchFamily="34" charset="0"/>
                <a:cs typeface="Segoe UI" panose="020B0502040204020203" pitchFamily="34" charset="0"/>
              </a:rPr>
              <a:t>223-ФЗ</a:t>
            </a:r>
            <a:endParaRPr lang="ru-RU" sz="1200" b="1" spc="-10" dirty="0">
              <a:solidFill>
                <a:schemeClr val="bg1"/>
              </a:solidFill>
              <a:latin typeface="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9" name="Прямоугольник 68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870912" y="720530"/>
            <a:ext cx="568245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spcBef>
                <a:spcPts val="361"/>
              </a:spcBef>
              <a:spcAft>
                <a:spcPts val="657"/>
              </a:spcAft>
              <a:defRPr/>
            </a:pPr>
            <a:r>
              <a:rPr lang="ru-RU" sz="2800" spc="-15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Антикризисные меры поддержки</a:t>
            </a:r>
          </a:p>
        </p:txBody>
      </p:sp>
      <p:sp>
        <p:nvSpPr>
          <p:cNvPr id="75" name="Скругленный прямоугольник 74">
            <a:extLst>
              <a:ext uri="{FF2B5EF4-FFF2-40B4-BE49-F238E27FC236}">
                <a16:creationId xmlns:a16="http://schemas.microsoft.com/office/drawing/2014/main" id="{837E3327-67C7-CF48-A192-F510E0B3FBD5}"/>
              </a:ext>
            </a:extLst>
          </p:cNvPr>
          <p:cNvSpPr/>
          <p:nvPr/>
        </p:nvSpPr>
        <p:spPr>
          <a:xfrm>
            <a:off x="5926167" y="2425347"/>
            <a:ext cx="773525" cy="306467"/>
          </a:xfrm>
          <a:prstGeom prst="round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ctr" defTabSz="554492"/>
            <a:r>
              <a:rPr lang="ru-RU" sz="1200" b="1" spc="-10" dirty="0" smtClean="0">
                <a:solidFill>
                  <a:schemeClr val="bg1"/>
                </a:solidFill>
                <a:latin typeface=""/>
                <a:ea typeface="Segoe UI" panose="020B0502040204020203" pitchFamily="34" charset="0"/>
                <a:cs typeface="Segoe UI" panose="020B0502040204020203" pitchFamily="34" charset="0"/>
              </a:rPr>
              <a:t>44-ФЗ</a:t>
            </a:r>
            <a:endParaRPr lang="ru-RU" sz="1200" b="1" spc="-10" dirty="0">
              <a:solidFill>
                <a:schemeClr val="bg1"/>
              </a:solidFill>
              <a:latin typeface="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F6AEA199-107E-1C4F-A0DC-08B9B796B23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817714" y="2755515"/>
            <a:ext cx="5601189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 defTabSz="4572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marL="171450" indent="-171450" defTabSz="22860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ru-RU" altLang="ru-RU" sz="1200" spc="-12" dirty="0" smtClean="0">
                <a:solidFill>
                  <a:schemeClr val="tx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Невключение поставщика в РНП, </a:t>
            </a:r>
            <a:r>
              <a:rPr lang="ru-RU" altLang="ru-RU" sz="1200" spc="-12" dirty="0" smtClean="0">
                <a:solidFill>
                  <a:schemeClr val="tx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если исполнение контракта обусловлено </a:t>
            </a:r>
            <a:r>
              <a:rPr lang="ru-RU" altLang="ru-RU" sz="1200" spc="-12" dirty="0">
                <a:solidFill>
                  <a:schemeClr val="tx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анкционными </a:t>
            </a:r>
            <a:r>
              <a:rPr lang="ru-RU" altLang="ru-RU" sz="1200" spc="-12" dirty="0" smtClean="0">
                <a:solidFill>
                  <a:schemeClr val="tx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ограничениями</a:t>
            </a:r>
            <a:endParaRPr lang="ru-RU" altLang="ru-RU" sz="1200" spc="-12" dirty="0">
              <a:solidFill>
                <a:schemeClr val="tx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5837902" y="3204274"/>
            <a:ext cx="550583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200" spc="-12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  <a:sym typeface="Helvetica Neue" panose="02000503000000020004" pitchFamily="2" charset="0"/>
              </a:rPr>
              <a:t>Увеличение размера </a:t>
            </a:r>
            <a:r>
              <a:rPr lang="ru-RU" sz="1200" spc="-12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  <a:sym typeface="Helvetica Neue" panose="02000503000000020004" pitchFamily="2" charset="0"/>
              </a:rPr>
              <a:t>авансовых </a:t>
            </a:r>
            <a:r>
              <a:rPr lang="ru-RU" sz="1200" spc="-12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  <a:sym typeface="Helvetica Neue" panose="02000503000000020004" pitchFamily="2" charset="0"/>
              </a:rPr>
              <a:t>платежей </a:t>
            </a:r>
            <a:r>
              <a:rPr lang="ru-RU" sz="1200" spc="-12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  <a:sym typeface="Helvetica Neue" panose="02000503000000020004" pitchFamily="2" charset="0"/>
              </a:rPr>
              <a:t>до 90% суммы контракта  </a:t>
            </a:r>
            <a:endParaRPr lang="ru-RU" sz="1200" spc="-12" dirty="0"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  <a:sym typeface="Helvetica Neue" panose="02000503000000020004" pitchFamily="2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745220" y="327804"/>
            <a:ext cx="4301233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Рынки </a:t>
            </a:r>
            <a:r>
              <a:rPr kumimoji="0" lang="ru-RU" sz="1300" b="0" i="0" u="none" strike="noStrike" kern="1200" cap="none" spc="0" normalizeH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быт</a:t>
            </a:r>
            <a:r>
              <a:rPr lang="ru-RU" sz="13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а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pic>
        <p:nvPicPr>
          <p:cNvPr id="32" name="Рисунок 3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0900742" y="306999"/>
            <a:ext cx="604745" cy="322513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sp>
        <p:nvSpPr>
          <p:cNvPr id="38" name="Полилиния 37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51954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64181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20847" y="0"/>
            <a:ext cx="526725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1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50244" y="4262024"/>
            <a:ext cx="3985036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400" dirty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Бесплатный </a:t>
            </a:r>
            <a:r>
              <a:rPr lang="ru-RU" sz="2400" dirty="0" err="1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агрегатор</a:t>
            </a:r>
            <a:r>
              <a:rPr lang="ru-RU" sz="2400" dirty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 закупок до 500 тыс. </a:t>
            </a:r>
            <a:r>
              <a:rPr lang="ru-RU" sz="2400" dirty="0" err="1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руб</a:t>
            </a:r>
            <a:r>
              <a:rPr lang="ru-RU" sz="2400" dirty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, проводимых по 223-ФЗ</a:t>
            </a: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50244" y="1165820"/>
            <a:ext cx="4556754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spcBef>
                <a:spcPts val="361"/>
              </a:spcBef>
              <a:spcAft>
                <a:spcPts val="657"/>
              </a:spcAft>
              <a:defRPr/>
            </a:pPr>
            <a:r>
              <a:rPr lang="ru-RU" sz="3600" spc="-15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В</a:t>
            </a:r>
            <a:r>
              <a:rPr lang="ru-RU" sz="3600" spc="-15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итрина закупок малого объема</a:t>
            </a:r>
            <a:endParaRPr lang="ru-RU" sz="3600" spc="-150" dirty="0">
              <a:gradFill>
                <a:gsLst>
                  <a:gs pos="0">
                    <a:srgbClr val="FF6464"/>
                  </a:gs>
                  <a:gs pos="100000">
                    <a:schemeClr val="bg2"/>
                  </a:gs>
                </a:gsLst>
                <a:lin ang="0" scaled="0"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5930796" y="1360372"/>
            <a:ext cx="198780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сточников информации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930796" y="836024"/>
            <a:ext cx="1915805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5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0</a:t>
            </a:r>
            <a:endParaRPr lang="ru-RU" sz="3500" spc="7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7881146" y="1337516"/>
            <a:ext cx="293414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электронных торговых площадок интегрировано</a:t>
            </a:r>
          </a:p>
        </p:txBody>
      </p: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881145" y="836024"/>
            <a:ext cx="1915805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500" spc="7" dirty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7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5930796" y="3387779"/>
            <a:ext cx="2030005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итрина закупок малого объема</a:t>
            </a: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0796" y="3053141"/>
            <a:ext cx="245204" cy="245204"/>
          </a:xfrm>
          <a:prstGeom prst="rect">
            <a:avLst/>
          </a:prstGeom>
        </p:spPr>
      </p:pic>
      <p:sp>
        <p:nvSpPr>
          <p:cNvPr id="45" name="Прямоугольник 44"/>
          <p:cNvSpPr/>
          <p:nvPr/>
        </p:nvSpPr>
        <p:spPr>
          <a:xfrm>
            <a:off x="7826760" y="3387779"/>
            <a:ext cx="2264113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ерсонализированный подбор закупок крупнейших заказчиков</a:t>
            </a:r>
          </a:p>
        </p:txBody>
      </p:sp>
      <p:sp>
        <p:nvSpPr>
          <p:cNvPr id="54" name="Прямоугольник 53"/>
          <p:cNvSpPr/>
          <p:nvPr/>
        </p:nvSpPr>
        <p:spPr>
          <a:xfrm>
            <a:off x="10269653" y="3387779"/>
            <a:ext cx="1254452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одписка </a:t>
            </a:r>
            <a:r>
              <a:rPr lang="ru-RU" sz="1400" spc="7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/>
            </a:r>
            <a:br>
              <a:rPr lang="ru-RU" sz="1400" spc="7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spc="7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закупки </a:t>
            </a:r>
            <a:b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spc="7" dirty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о различным категориям</a:t>
            </a: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7763" y="3053141"/>
            <a:ext cx="223198" cy="245203"/>
          </a:xfrm>
          <a:prstGeom prst="rect">
            <a:avLst/>
          </a:prstGeom>
        </p:spPr>
      </p:pic>
      <p:pic>
        <p:nvPicPr>
          <p:cNvPr id="63" name="Рисунок 6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69652" y="3043998"/>
            <a:ext cx="223198" cy="245203"/>
          </a:xfrm>
          <a:prstGeom prst="rect">
            <a:avLst/>
          </a:prstGeom>
        </p:spPr>
      </p:pic>
      <p:sp>
        <p:nvSpPr>
          <p:cNvPr id="65" name="Прямоугольник 64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930796" y="2188142"/>
            <a:ext cx="455675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spcBef>
                <a:spcPts val="361"/>
              </a:spcBef>
              <a:spcAft>
                <a:spcPts val="657"/>
              </a:spcAft>
              <a:defRPr/>
            </a:pPr>
            <a:r>
              <a:rPr lang="en-US" sz="3600" spc="-15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&gt;600 </a:t>
            </a:r>
            <a:r>
              <a:rPr lang="ru-RU" sz="3600" spc="-15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заказчиков</a:t>
            </a:r>
            <a:endParaRPr lang="ru-RU" sz="3600" spc="-150" dirty="0">
              <a:gradFill>
                <a:gsLst>
                  <a:gs pos="0">
                    <a:srgbClr val="FF6464"/>
                  </a:gs>
                  <a:gs pos="100000">
                    <a:schemeClr val="bg2"/>
                  </a:gs>
                </a:gsLst>
                <a:lin ang="0" scaled="0"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9" name="Группа 8"/>
          <p:cNvGrpSpPr/>
          <p:nvPr/>
        </p:nvGrpSpPr>
        <p:grpSpPr>
          <a:xfrm>
            <a:off x="5890156" y="4567127"/>
            <a:ext cx="5615331" cy="1198857"/>
            <a:chOff x="5930796" y="4438301"/>
            <a:chExt cx="5799291" cy="1238132"/>
          </a:xfrm>
        </p:grpSpPr>
        <p:pic>
          <p:nvPicPr>
            <p:cNvPr id="41" name="Рисунок 4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7431554" y="4510429"/>
              <a:ext cx="1153838" cy="397878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47" name="Picture 2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6153763" y="4525432"/>
              <a:ext cx="789179" cy="382875"/>
            </a:xfrm>
            <a:prstGeom prst="rect">
              <a:avLst/>
            </a:prstGeom>
            <a:solidFill>
              <a:srgbClr val="F0E8E5"/>
            </a:solidFill>
          </p:spPr>
        </p:pic>
        <p:sp>
          <p:nvSpPr>
            <p:cNvPr id="50" name="Полилиния 49"/>
            <p:cNvSpPr/>
            <p:nvPr/>
          </p:nvSpPr>
          <p:spPr>
            <a:xfrm>
              <a:off x="5937563" y="4439543"/>
              <a:ext cx="1234937" cy="554655"/>
            </a:xfrm>
            <a:custGeom>
              <a:avLst/>
              <a:gdLst>
                <a:gd name="connsiteX0" fmla="*/ 277328 w 1234937"/>
                <a:gd name="connsiteY0" fmla="*/ 0 h 554655"/>
                <a:gd name="connsiteX1" fmla="*/ 329024 w 1234937"/>
                <a:gd name="connsiteY1" fmla="*/ 0 h 554655"/>
                <a:gd name="connsiteX2" fmla="*/ 349271 w 1234937"/>
                <a:gd name="connsiteY2" fmla="*/ 0 h 554655"/>
                <a:gd name="connsiteX3" fmla="*/ 400968 w 1234937"/>
                <a:gd name="connsiteY3" fmla="*/ 0 h 554655"/>
                <a:gd name="connsiteX4" fmla="*/ 422361 w 1234937"/>
                <a:gd name="connsiteY4" fmla="*/ 0 h 554655"/>
                <a:gd name="connsiteX5" fmla="*/ 474057 w 1234937"/>
                <a:gd name="connsiteY5" fmla="*/ 0 h 554655"/>
                <a:gd name="connsiteX6" fmla="*/ 474069 w 1234937"/>
                <a:gd name="connsiteY6" fmla="*/ 0 h 554655"/>
                <a:gd name="connsiteX7" fmla="*/ 492196 w 1234937"/>
                <a:gd name="connsiteY7" fmla="*/ 0 h 554655"/>
                <a:gd name="connsiteX8" fmla="*/ 494304 w 1234937"/>
                <a:gd name="connsiteY8" fmla="*/ 0 h 554655"/>
                <a:gd name="connsiteX9" fmla="*/ 525765 w 1234937"/>
                <a:gd name="connsiteY9" fmla="*/ 0 h 554655"/>
                <a:gd name="connsiteX10" fmla="*/ 543892 w 1234937"/>
                <a:gd name="connsiteY10" fmla="*/ 0 h 554655"/>
                <a:gd name="connsiteX11" fmla="*/ 546001 w 1234937"/>
                <a:gd name="connsiteY11" fmla="*/ 0 h 554655"/>
                <a:gd name="connsiteX12" fmla="*/ 546012 w 1234937"/>
                <a:gd name="connsiteY12" fmla="*/ 0 h 554655"/>
                <a:gd name="connsiteX13" fmla="*/ 564139 w 1234937"/>
                <a:gd name="connsiteY13" fmla="*/ 0 h 554655"/>
                <a:gd name="connsiteX14" fmla="*/ 597709 w 1234937"/>
                <a:gd name="connsiteY14" fmla="*/ 0 h 554655"/>
                <a:gd name="connsiteX15" fmla="*/ 615836 w 1234937"/>
                <a:gd name="connsiteY15" fmla="*/ 0 h 554655"/>
                <a:gd name="connsiteX16" fmla="*/ 619102 w 1234937"/>
                <a:gd name="connsiteY16" fmla="*/ 0 h 554655"/>
                <a:gd name="connsiteX17" fmla="*/ 637229 w 1234937"/>
                <a:gd name="connsiteY17" fmla="*/ 0 h 554655"/>
                <a:gd name="connsiteX18" fmla="*/ 670798 w 1234937"/>
                <a:gd name="connsiteY18" fmla="*/ 0 h 554655"/>
                <a:gd name="connsiteX19" fmla="*/ 688925 w 1234937"/>
                <a:gd name="connsiteY19" fmla="*/ 0 h 554655"/>
                <a:gd name="connsiteX20" fmla="*/ 688937 w 1234937"/>
                <a:gd name="connsiteY20" fmla="*/ 0 h 554655"/>
                <a:gd name="connsiteX21" fmla="*/ 691045 w 1234937"/>
                <a:gd name="connsiteY21" fmla="*/ 0 h 554655"/>
                <a:gd name="connsiteX22" fmla="*/ 709172 w 1234937"/>
                <a:gd name="connsiteY22" fmla="*/ 0 h 554655"/>
                <a:gd name="connsiteX23" fmla="*/ 740633 w 1234937"/>
                <a:gd name="connsiteY23" fmla="*/ 0 h 554655"/>
                <a:gd name="connsiteX24" fmla="*/ 742742 w 1234937"/>
                <a:gd name="connsiteY24" fmla="*/ 0 h 554655"/>
                <a:gd name="connsiteX25" fmla="*/ 760869 w 1234937"/>
                <a:gd name="connsiteY25" fmla="*/ 0 h 554655"/>
                <a:gd name="connsiteX26" fmla="*/ 760880 w 1234937"/>
                <a:gd name="connsiteY26" fmla="*/ 0 h 554655"/>
                <a:gd name="connsiteX27" fmla="*/ 812577 w 1234937"/>
                <a:gd name="connsiteY27" fmla="*/ 0 h 554655"/>
                <a:gd name="connsiteX28" fmla="*/ 833970 w 1234937"/>
                <a:gd name="connsiteY28" fmla="*/ 0 h 554655"/>
                <a:gd name="connsiteX29" fmla="*/ 885666 w 1234937"/>
                <a:gd name="connsiteY29" fmla="*/ 0 h 554655"/>
                <a:gd name="connsiteX30" fmla="*/ 905913 w 1234937"/>
                <a:gd name="connsiteY30" fmla="*/ 0 h 554655"/>
                <a:gd name="connsiteX31" fmla="*/ 957610 w 1234937"/>
                <a:gd name="connsiteY31" fmla="*/ 0 h 554655"/>
                <a:gd name="connsiteX32" fmla="*/ 1234937 w 1234937"/>
                <a:gd name="connsiteY32" fmla="*/ 277328 h 554655"/>
                <a:gd name="connsiteX33" fmla="*/ 1234936 w 1234937"/>
                <a:gd name="connsiteY33" fmla="*/ 277328 h 554655"/>
                <a:gd name="connsiteX34" fmla="*/ 957609 w 1234937"/>
                <a:gd name="connsiteY34" fmla="*/ 554655 h 554655"/>
                <a:gd name="connsiteX35" fmla="*/ 905915 w 1234937"/>
                <a:gd name="connsiteY35" fmla="*/ 554655 h 554655"/>
                <a:gd name="connsiteX36" fmla="*/ 905912 w 1234937"/>
                <a:gd name="connsiteY36" fmla="*/ 554655 h 554655"/>
                <a:gd name="connsiteX37" fmla="*/ 885666 w 1234937"/>
                <a:gd name="connsiteY37" fmla="*/ 554655 h 554655"/>
                <a:gd name="connsiteX38" fmla="*/ 885665 w 1234937"/>
                <a:gd name="connsiteY38" fmla="*/ 554655 h 554655"/>
                <a:gd name="connsiteX39" fmla="*/ 833972 w 1234937"/>
                <a:gd name="connsiteY39" fmla="*/ 554655 h 554655"/>
                <a:gd name="connsiteX40" fmla="*/ 833969 w 1234937"/>
                <a:gd name="connsiteY40" fmla="*/ 554655 h 554655"/>
                <a:gd name="connsiteX41" fmla="*/ 812577 w 1234937"/>
                <a:gd name="connsiteY41" fmla="*/ 554655 h 554655"/>
                <a:gd name="connsiteX42" fmla="*/ 812576 w 1234937"/>
                <a:gd name="connsiteY42" fmla="*/ 554655 h 554655"/>
                <a:gd name="connsiteX43" fmla="*/ 760882 w 1234937"/>
                <a:gd name="connsiteY43" fmla="*/ 554655 h 554655"/>
                <a:gd name="connsiteX44" fmla="*/ 760879 w 1234937"/>
                <a:gd name="connsiteY44" fmla="*/ 554655 h 554655"/>
                <a:gd name="connsiteX45" fmla="*/ 760868 w 1234937"/>
                <a:gd name="connsiteY45" fmla="*/ 554655 h 554655"/>
                <a:gd name="connsiteX46" fmla="*/ 740633 w 1234937"/>
                <a:gd name="connsiteY46" fmla="*/ 554655 h 554655"/>
                <a:gd name="connsiteX47" fmla="*/ 740632 w 1234937"/>
                <a:gd name="connsiteY47" fmla="*/ 554655 h 554655"/>
                <a:gd name="connsiteX48" fmla="*/ 709174 w 1234937"/>
                <a:gd name="connsiteY48" fmla="*/ 554655 h 554655"/>
                <a:gd name="connsiteX49" fmla="*/ 709171 w 1234937"/>
                <a:gd name="connsiteY49" fmla="*/ 554655 h 554655"/>
                <a:gd name="connsiteX50" fmla="*/ 688938 w 1234937"/>
                <a:gd name="connsiteY50" fmla="*/ 554655 h 554655"/>
                <a:gd name="connsiteX51" fmla="*/ 688936 w 1234937"/>
                <a:gd name="connsiteY51" fmla="*/ 554655 h 554655"/>
                <a:gd name="connsiteX52" fmla="*/ 688925 w 1234937"/>
                <a:gd name="connsiteY52" fmla="*/ 554655 h 554655"/>
                <a:gd name="connsiteX53" fmla="*/ 688924 w 1234937"/>
                <a:gd name="connsiteY53" fmla="*/ 554655 h 554655"/>
                <a:gd name="connsiteX54" fmla="*/ 637231 w 1234937"/>
                <a:gd name="connsiteY54" fmla="*/ 554655 h 554655"/>
                <a:gd name="connsiteX55" fmla="*/ 637228 w 1234937"/>
                <a:gd name="connsiteY55" fmla="*/ 554655 h 554655"/>
                <a:gd name="connsiteX56" fmla="*/ 615836 w 1234937"/>
                <a:gd name="connsiteY56" fmla="*/ 554655 h 554655"/>
                <a:gd name="connsiteX57" fmla="*/ 615835 w 1234937"/>
                <a:gd name="connsiteY57" fmla="*/ 554655 h 554655"/>
                <a:gd name="connsiteX58" fmla="*/ 564141 w 1234937"/>
                <a:gd name="connsiteY58" fmla="*/ 554655 h 554655"/>
                <a:gd name="connsiteX59" fmla="*/ 564138 w 1234937"/>
                <a:gd name="connsiteY59" fmla="*/ 554655 h 554655"/>
                <a:gd name="connsiteX60" fmla="*/ 543892 w 1234937"/>
                <a:gd name="connsiteY60" fmla="*/ 554655 h 554655"/>
                <a:gd name="connsiteX61" fmla="*/ 543891 w 1234937"/>
                <a:gd name="connsiteY61" fmla="*/ 554655 h 554655"/>
                <a:gd name="connsiteX62" fmla="*/ 492197 w 1234937"/>
                <a:gd name="connsiteY62" fmla="*/ 554655 h 554655"/>
                <a:gd name="connsiteX63" fmla="*/ 492195 w 1234937"/>
                <a:gd name="connsiteY63" fmla="*/ 554655 h 554655"/>
                <a:gd name="connsiteX64" fmla="*/ 277328 w 1234937"/>
                <a:gd name="connsiteY64" fmla="*/ 554654 h 554655"/>
                <a:gd name="connsiteX65" fmla="*/ 5634 w 1234937"/>
                <a:gd name="connsiteY65" fmla="*/ 333218 h 554655"/>
                <a:gd name="connsiteX66" fmla="*/ 0 w 1234937"/>
                <a:gd name="connsiteY66" fmla="*/ 277328 h 554655"/>
                <a:gd name="connsiteX67" fmla="*/ 5634 w 1234937"/>
                <a:gd name="connsiteY67" fmla="*/ 221437 h 554655"/>
                <a:gd name="connsiteX68" fmla="*/ 277328 w 1234937"/>
                <a:gd name="connsiteY68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</a:cxnLst>
              <a:rect l="l" t="t" r="r" b="b"/>
              <a:pathLst>
                <a:path w="1234937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7229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9172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812577" y="0"/>
                  </a:lnTo>
                  <a:lnTo>
                    <a:pt x="833970" y="0"/>
                  </a:lnTo>
                  <a:lnTo>
                    <a:pt x="885666" y="0"/>
                  </a:lnTo>
                  <a:lnTo>
                    <a:pt x="905913" y="0"/>
                  </a:lnTo>
                  <a:lnTo>
                    <a:pt x="957610" y="0"/>
                  </a:lnTo>
                  <a:cubicBezTo>
                    <a:pt x="1110774" y="0"/>
                    <a:pt x="1234937" y="124164"/>
                    <a:pt x="1234937" y="277328"/>
                  </a:cubicBezTo>
                  <a:lnTo>
                    <a:pt x="1234936" y="277328"/>
                  </a:lnTo>
                  <a:cubicBezTo>
                    <a:pt x="1234936" y="430492"/>
                    <a:pt x="1110773" y="554655"/>
                    <a:pt x="957609" y="554655"/>
                  </a:cubicBez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53" name="Полилиния 52"/>
            <p:cNvSpPr/>
            <p:nvPr/>
          </p:nvSpPr>
          <p:spPr>
            <a:xfrm>
              <a:off x="7246670" y="4439543"/>
              <a:ext cx="1540608" cy="554655"/>
            </a:xfrm>
            <a:custGeom>
              <a:avLst/>
              <a:gdLst>
                <a:gd name="connsiteX0" fmla="*/ 277328 w 1540608"/>
                <a:gd name="connsiteY0" fmla="*/ 0 h 554655"/>
                <a:gd name="connsiteX1" fmla="*/ 329024 w 1540608"/>
                <a:gd name="connsiteY1" fmla="*/ 0 h 554655"/>
                <a:gd name="connsiteX2" fmla="*/ 349271 w 1540608"/>
                <a:gd name="connsiteY2" fmla="*/ 0 h 554655"/>
                <a:gd name="connsiteX3" fmla="*/ 400968 w 1540608"/>
                <a:gd name="connsiteY3" fmla="*/ 0 h 554655"/>
                <a:gd name="connsiteX4" fmla="*/ 422361 w 1540608"/>
                <a:gd name="connsiteY4" fmla="*/ 0 h 554655"/>
                <a:gd name="connsiteX5" fmla="*/ 474057 w 1540608"/>
                <a:gd name="connsiteY5" fmla="*/ 0 h 554655"/>
                <a:gd name="connsiteX6" fmla="*/ 474069 w 1540608"/>
                <a:gd name="connsiteY6" fmla="*/ 0 h 554655"/>
                <a:gd name="connsiteX7" fmla="*/ 492196 w 1540608"/>
                <a:gd name="connsiteY7" fmla="*/ 0 h 554655"/>
                <a:gd name="connsiteX8" fmla="*/ 494304 w 1540608"/>
                <a:gd name="connsiteY8" fmla="*/ 0 h 554655"/>
                <a:gd name="connsiteX9" fmla="*/ 525765 w 1540608"/>
                <a:gd name="connsiteY9" fmla="*/ 0 h 554655"/>
                <a:gd name="connsiteX10" fmla="*/ 543892 w 1540608"/>
                <a:gd name="connsiteY10" fmla="*/ 0 h 554655"/>
                <a:gd name="connsiteX11" fmla="*/ 546001 w 1540608"/>
                <a:gd name="connsiteY11" fmla="*/ 0 h 554655"/>
                <a:gd name="connsiteX12" fmla="*/ 546012 w 1540608"/>
                <a:gd name="connsiteY12" fmla="*/ 0 h 554655"/>
                <a:gd name="connsiteX13" fmla="*/ 564139 w 1540608"/>
                <a:gd name="connsiteY13" fmla="*/ 0 h 554655"/>
                <a:gd name="connsiteX14" fmla="*/ 582999 w 1540608"/>
                <a:gd name="connsiteY14" fmla="*/ 0 h 554655"/>
                <a:gd name="connsiteX15" fmla="*/ 597709 w 1540608"/>
                <a:gd name="connsiteY15" fmla="*/ 0 h 554655"/>
                <a:gd name="connsiteX16" fmla="*/ 615836 w 1540608"/>
                <a:gd name="connsiteY16" fmla="*/ 0 h 554655"/>
                <a:gd name="connsiteX17" fmla="*/ 619102 w 1540608"/>
                <a:gd name="connsiteY17" fmla="*/ 0 h 554655"/>
                <a:gd name="connsiteX18" fmla="*/ 634695 w 1540608"/>
                <a:gd name="connsiteY18" fmla="*/ 0 h 554655"/>
                <a:gd name="connsiteX19" fmla="*/ 637229 w 1540608"/>
                <a:gd name="connsiteY19" fmla="*/ 0 h 554655"/>
                <a:gd name="connsiteX20" fmla="*/ 654942 w 1540608"/>
                <a:gd name="connsiteY20" fmla="*/ 0 h 554655"/>
                <a:gd name="connsiteX21" fmla="*/ 670798 w 1540608"/>
                <a:gd name="connsiteY21" fmla="*/ 0 h 554655"/>
                <a:gd name="connsiteX22" fmla="*/ 688925 w 1540608"/>
                <a:gd name="connsiteY22" fmla="*/ 0 h 554655"/>
                <a:gd name="connsiteX23" fmla="*/ 688937 w 1540608"/>
                <a:gd name="connsiteY23" fmla="*/ 0 h 554655"/>
                <a:gd name="connsiteX24" fmla="*/ 691045 w 1540608"/>
                <a:gd name="connsiteY24" fmla="*/ 0 h 554655"/>
                <a:gd name="connsiteX25" fmla="*/ 706639 w 1540608"/>
                <a:gd name="connsiteY25" fmla="*/ 0 h 554655"/>
                <a:gd name="connsiteX26" fmla="*/ 709172 w 1540608"/>
                <a:gd name="connsiteY26" fmla="*/ 0 h 554655"/>
                <a:gd name="connsiteX27" fmla="*/ 728032 w 1540608"/>
                <a:gd name="connsiteY27" fmla="*/ 0 h 554655"/>
                <a:gd name="connsiteX28" fmla="*/ 740633 w 1540608"/>
                <a:gd name="connsiteY28" fmla="*/ 0 h 554655"/>
                <a:gd name="connsiteX29" fmla="*/ 742742 w 1540608"/>
                <a:gd name="connsiteY29" fmla="*/ 0 h 554655"/>
                <a:gd name="connsiteX30" fmla="*/ 760869 w 1540608"/>
                <a:gd name="connsiteY30" fmla="*/ 0 h 554655"/>
                <a:gd name="connsiteX31" fmla="*/ 760880 w 1540608"/>
                <a:gd name="connsiteY31" fmla="*/ 0 h 554655"/>
                <a:gd name="connsiteX32" fmla="*/ 779728 w 1540608"/>
                <a:gd name="connsiteY32" fmla="*/ 0 h 554655"/>
                <a:gd name="connsiteX33" fmla="*/ 779740 w 1540608"/>
                <a:gd name="connsiteY33" fmla="*/ 0 h 554655"/>
                <a:gd name="connsiteX34" fmla="*/ 797867 w 1540608"/>
                <a:gd name="connsiteY34" fmla="*/ 0 h 554655"/>
                <a:gd name="connsiteX35" fmla="*/ 799975 w 1540608"/>
                <a:gd name="connsiteY35" fmla="*/ 0 h 554655"/>
                <a:gd name="connsiteX36" fmla="*/ 812577 w 1540608"/>
                <a:gd name="connsiteY36" fmla="*/ 0 h 554655"/>
                <a:gd name="connsiteX37" fmla="*/ 831436 w 1540608"/>
                <a:gd name="connsiteY37" fmla="*/ 0 h 554655"/>
                <a:gd name="connsiteX38" fmla="*/ 833970 w 1540608"/>
                <a:gd name="connsiteY38" fmla="*/ 0 h 554655"/>
                <a:gd name="connsiteX39" fmla="*/ 849563 w 1540608"/>
                <a:gd name="connsiteY39" fmla="*/ 0 h 554655"/>
                <a:gd name="connsiteX40" fmla="*/ 851672 w 1540608"/>
                <a:gd name="connsiteY40" fmla="*/ 0 h 554655"/>
                <a:gd name="connsiteX41" fmla="*/ 851683 w 1540608"/>
                <a:gd name="connsiteY41" fmla="*/ 0 h 554655"/>
                <a:gd name="connsiteX42" fmla="*/ 869810 w 1540608"/>
                <a:gd name="connsiteY42" fmla="*/ 0 h 554655"/>
                <a:gd name="connsiteX43" fmla="*/ 885666 w 1540608"/>
                <a:gd name="connsiteY43" fmla="*/ 0 h 554655"/>
                <a:gd name="connsiteX44" fmla="*/ 903380 w 1540608"/>
                <a:gd name="connsiteY44" fmla="*/ 0 h 554655"/>
                <a:gd name="connsiteX45" fmla="*/ 905913 w 1540608"/>
                <a:gd name="connsiteY45" fmla="*/ 0 h 554655"/>
                <a:gd name="connsiteX46" fmla="*/ 921507 w 1540608"/>
                <a:gd name="connsiteY46" fmla="*/ 0 h 554655"/>
                <a:gd name="connsiteX47" fmla="*/ 924773 w 1540608"/>
                <a:gd name="connsiteY47" fmla="*/ 0 h 554655"/>
                <a:gd name="connsiteX48" fmla="*/ 942900 w 1540608"/>
                <a:gd name="connsiteY48" fmla="*/ 0 h 554655"/>
                <a:gd name="connsiteX49" fmla="*/ 957610 w 1540608"/>
                <a:gd name="connsiteY49" fmla="*/ 0 h 554655"/>
                <a:gd name="connsiteX50" fmla="*/ 976469 w 1540608"/>
                <a:gd name="connsiteY50" fmla="*/ 0 h 554655"/>
                <a:gd name="connsiteX51" fmla="*/ 994596 w 1540608"/>
                <a:gd name="connsiteY51" fmla="*/ 0 h 554655"/>
                <a:gd name="connsiteX52" fmla="*/ 994608 w 1540608"/>
                <a:gd name="connsiteY52" fmla="*/ 0 h 554655"/>
                <a:gd name="connsiteX53" fmla="*/ 996716 w 1540608"/>
                <a:gd name="connsiteY53" fmla="*/ 0 h 554655"/>
                <a:gd name="connsiteX54" fmla="*/ 1014843 w 1540608"/>
                <a:gd name="connsiteY54" fmla="*/ 0 h 554655"/>
                <a:gd name="connsiteX55" fmla="*/ 1046304 w 1540608"/>
                <a:gd name="connsiteY55" fmla="*/ 0 h 554655"/>
                <a:gd name="connsiteX56" fmla="*/ 1048413 w 1540608"/>
                <a:gd name="connsiteY56" fmla="*/ 0 h 554655"/>
                <a:gd name="connsiteX57" fmla="*/ 1066540 w 1540608"/>
                <a:gd name="connsiteY57" fmla="*/ 0 h 554655"/>
                <a:gd name="connsiteX58" fmla="*/ 1066551 w 1540608"/>
                <a:gd name="connsiteY58" fmla="*/ 0 h 554655"/>
                <a:gd name="connsiteX59" fmla="*/ 1118248 w 1540608"/>
                <a:gd name="connsiteY59" fmla="*/ 0 h 554655"/>
                <a:gd name="connsiteX60" fmla="*/ 1139641 w 1540608"/>
                <a:gd name="connsiteY60" fmla="*/ 0 h 554655"/>
                <a:gd name="connsiteX61" fmla="*/ 1191337 w 1540608"/>
                <a:gd name="connsiteY61" fmla="*/ 0 h 554655"/>
                <a:gd name="connsiteX62" fmla="*/ 1211584 w 1540608"/>
                <a:gd name="connsiteY62" fmla="*/ 0 h 554655"/>
                <a:gd name="connsiteX63" fmla="*/ 1263281 w 1540608"/>
                <a:gd name="connsiteY63" fmla="*/ 0 h 554655"/>
                <a:gd name="connsiteX64" fmla="*/ 1540608 w 1540608"/>
                <a:gd name="connsiteY64" fmla="*/ 277328 h 554655"/>
                <a:gd name="connsiteX65" fmla="*/ 1540607 w 1540608"/>
                <a:gd name="connsiteY65" fmla="*/ 277328 h 554655"/>
                <a:gd name="connsiteX66" fmla="*/ 1263280 w 1540608"/>
                <a:gd name="connsiteY66" fmla="*/ 554655 h 554655"/>
                <a:gd name="connsiteX67" fmla="*/ 1211586 w 1540608"/>
                <a:gd name="connsiteY67" fmla="*/ 554655 h 554655"/>
                <a:gd name="connsiteX68" fmla="*/ 1211583 w 1540608"/>
                <a:gd name="connsiteY68" fmla="*/ 554655 h 554655"/>
                <a:gd name="connsiteX69" fmla="*/ 1191337 w 1540608"/>
                <a:gd name="connsiteY69" fmla="*/ 554655 h 554655"/>
                <a:gd name="connsiteX70" fmla="*/ 1191336 w 1540608"/>
                <a:gd name="connsiteY70" fmla="*/ 554655 h 554655"/>
                <a:gd name="connsiteX71" fmla="*/ 1139643 w 1540608"/>
                <a:gd name="connsiteY71" fmla="*/ 554655 h 554655"/>
                <a:gd name="connsiteX72" fmla="*/ 1139640 w 1540608"/>
                <a:gd name="connsiteY72" fmla="*/ 554655 h 554655"/>
                <a:gd name="connsiteX73" fmla="*/ 1118248 w 1540608"/>
                <a:gd name="connsiteY73" fmla="*/ 554655 h 554655"/>
                <a:gd name="connsiteX74" fmla="*/ 1118247 w 1540608"/>
                <a:gd name="connsiteY74" fmla="*/ 554655 h 554655"/>
                <a:gd name="connsiteX75" fmla="*/ 1066553 w 1540608"/>
                <a:gd name="connsiteY75" fmla="*/ 554655 h 554655"/>
                <a:gd name="connsiteX76" fmla="*/ 1066550 w 1540608"/>
                <a:gd name="connsiteY76" fmla="*/ 554655 h 554655"/>
                <a:gd name="connsiteX77" fmla="*/ 1066539 w 1540608"/>
                <a:gd name="connsiteY77" fmla="*/ 554655 h 554655"/>
                <a:gd name="connsiteX78" fmla="*/ 1046304 w 1540608"/>
                <a:gd name="connsiteY78" fmla="*/ 554655 h 554655"/>
                <a:gd name="connsiteX79" fmla="*/ 1046303 w 1540608"/>
                <a:gd name="connsiteY79" fmla="*/ 554655 h 554655"/>
                <a:gd name="connsiteX80" fmla="*/ 1014845 w 1540608"/>
                <a:gd name="connsiteY80" fmla="*/ 554655 h 554655"/>
                <a:gd name="connsiteX81" fmla="*/ 1014842 w 1540608"/>
                <a:gd name="connsiteY81" fmla="*/ 554655 h 554655"/>
                <a:gd name="connsiteX82" fmla="*/ 994609 w 1540608"/>
                <a:gd name="connsiteY82" fmla="*/ 554655 h 554655"/>
                <a:gd name="connsiteX83" fmla="*/ 994607 w 1540608"/>
                <a:gd name="connsiteY83" fmla="*/ 554655 h 554655"/>
                <a:gd name="connsiteX84" fmla="*/ 994596 w 1540608"/>
                <a:gd name="connsiteY84" fmla="*/ 554655 h 554655"/>
                <a:gd name="connsiteX85" fmla="*/ 994595 w 1540608"/>
                <a:gd name="connsiteY85" fmla="*/ 554655 h 554655"/>
                <a:gd name="connsiteX86" fmla="*/ 957609 w 1540608"/>
                <a:gd name="connsiteY86" fmla="*/ 554655 h 554655"/>
                <a:gd name="connsiteX87" fmla="*/ 942902 w 1540608"/>
                <a:gd name="connsiteY87" fmla="*/ 554655 h 554655"/>
                <a:gd name="connsiteX88" fmla="*/ 942899 w 1540608"/>
                <a:gd name="connsiteY88" fmla="*/ 554655 h 554655"/>
                <a:gd name="connsiteX89" fmla="*/ 921507 w 1540608"/>
                <a:gd name="connsiteY89" fmla="*/ 554655 h 554655"/>
                <a:gd name="connsiteX90" fmla="*/ 921506 w 1540608"/>
                <a:gd name="connsiteY90" fmla="*/ 554655 h 554655"/>
                <a:gd name="connsiteX91" fmla="*/ 905915 w 1540608"/>
                <a:gd name="connsiteY91" fmla="*/ 554655 h 554655"/>
                <a:gd name="connsiteX92" fmla="*/ 905912 w 1540608"/>
                <a:gd name="connsiteY92" fmla="*/ 554655 h 554655"/>
                <a:gd name="connsiteX93" fmla="*/ 885666 w 1540608"/>
                <a:gd name="connsiteY93" fmla="*/ 554655 h 554655"/>
                <a:gd name="connsiteX94" fmla="*/ 885665 w 1540608"/>
                <a:gd name="connsiteY94" fmla="*/ 554655 h 554655"/>
                <a:gd name="connsiteX95" fmla="*/ 869812 w 1540608"/>
                <a:gd name="connsiteY95" fmla="*/ 554655 h 554655"/>
                <a:gd name="connsiteX96" fmla="*/ 869809 w 1540608"/>
                <a:gd name="connsiteY96" fmla="*/ 554655 h 554655"/>
                <a:gd name="connsiteX97" fmla="*/ 849563 w 1540608"/>
                <a:gd name="connsiteY97" fmla="*/ 554655 h 554655"/>
                <a:gd name="connsiteX98" fmla="*/ 849562 w 1540608"/>
                <a:gd name="connsiteY98" fmla="*/ 554655 h 554655"/>
                <a:gd name="connsiteX99" fmla="*/ 833972 w 1540608"/>
                <a:gd name="connsiteY99" fmla="*/ 554655 h 554655"/>
                <a:gd name="connsiteX100" fmla="*/ 833969 w 1540608"/>
                <a:gd name="connsiteY100" fmla="*/ 554655 h 554655"/>
                <a:gd name="connsiteX101" fmla="*/ 812577 w 1540608"/>
                <a:gd name="connsiteY101" fmla="*/ 554655 h 554655"/>
                <a:gd name="connsiteX102" fmla="*/ 812576 w 1540608"/>
                <a:gd name="connsiteY102" fmla="*/ 554655 h 554655"/>
                <a:gd name="connsiteX103" fmla="*/ 797868 w 1540608"/>
                <a:gd name="connsiteY103" fmla="*/ 554655 h 554655"/>
                <a:gd name="connsiteX104" fmla="*/ 797866 w 1540608"/>
                <a:gd name="connsiteY104" fmla="*/ 554655 h 554655"/>
                <a:gd name="connsiteX105" fmla="*/ 760882 w 1540608"/>
                <a:gd name="connsiteY105" fmla="*/ 554655 h 554655"/>
                <a:gd name="connsiteX106" fmla="*/ 760879 w 1540608"/>
                <a:gd name="connsiteY106" fmla="*/ 554655 h 554655"/>
                <a:gd name="connsiteX107" fmla="*/ 760868 w 1540608"/>
                <a:gd name="connsiteY107" fmla="*/ 554655 h 554655"/>
                <a:gd name="connsiteX108" fmla="*/ 740633 w 1540608"/>
                <a:gd name="connsiteY108" fmla="*/ 554655 h 554655"/>
                <a:gd name="connsiteX109" fmla="*/ 740632 w 1540608"/>
                <a:gd name="connsiteY109" fmla="*/ 554655 h 554655"/>
                <a:gd name="connsiteX110" fmla="*/ 709174 w 1540608"/>
                <a:gd name="connsiteY110" fmla="*/ 554655 h 554655"/>
                <a:gd name="connsiteX111" fmla="*/ 709171 w 1540608"/>
                <a:gd name="connsiteY111" fmla="*/ 554655 h 554655"/>
                <a:gd name="connsiteX112" fmla="*/ 688938 w 1540608"/>
                <a:gd name="connsiteY112" fmla="*/ 554655 h 554655"/>
                <a:gd name="connsiteX113" fmla="*/ 688936 w 1540608"/>
                <a:gd name="connsiteY113" fmla="*/ 554655 h 554655"/>
                <a:gd name="connsiteX114" fmla="*/ 688925 w 1540608"/>
                <a:gd name="connsiteY114" fmla="*/ 554655 h 554655"/>
                <a:gd name="connsiteX115" fmla="*/ 688924 w 1540608"/>
                <a:gd name="connsiteY115" fmla="*/ 554655 h 554655"/>
                <a:gd name="connsiteX116" fmla="*/ 637231 w 1540608"/>
                <a:gd name="connsiteY116" fmla="*/ 554655 h 554655"/>
                <a:gd name="connsiteX117" fmla="*/ 637228 w 1540608"/>
                <a:gd name="connsiteY117" fmla="*/ 554655 h 554655"/>
                <a:gd name="connsiteX118" fmla="*/ 615836 w 1540608"/>
                <a:gd name="connsiteY118" fmla="*/ 554655 h 554655"/>
                <a:gd name="connsiteX119" fmla="*/ 615835 w 1540608"/>
                <a:gd name="connsiteY119" fmla="*/ 554655 h 554655"/>
                <a:gd name="connsiteX120" fmla="*/ 564141 w 1540608"/>
                <a:gd name="connsiteY120" fmla="*/ 554655 h 554655"/>
                <a:gd name="connsiteX121" fmla="*/ 564138 w 1540608"/>
                <a:gd name="connsiteY121" fmla="*/ 554655 h 554655"/>
                <a:gd name="connsiteX122" fmla="*/ 543892 w 1540608"/>
                <a:gd name="connsiteY122" fmla="*/ 554655 h 554655"/>
                <a:gd name="connsiteX123" fmla="*/ 543891 w 1540608"/>
                <a:gd name="connsiteY123" fmla="*/ 554655 h 554655"/>
                <a:gd name="connsiteX124" fmla="*/ 492197 w 1540608"/>
                <a:gd name="connsiteY124" fmla="*/ 554655 h 554655"/>
                <a:gd name="connsiteX125" fmla="*/ 492195 w 1540608"/>
                <a:gd name="connsiteY125" fmla="*/ 554655 h 554655"/>
                <a:gd name="connsiteX126" fmla="*/ 277328 w 1540608"/>
                <a:gd name="connsiteY126" fmla="*/ 554654 h 554655"/>
                <a:gd name="connsiteX127" fmla="*/ 5634 w 1540608"/>
                <a:gd name="connsiteY127" fmla="*/ 333218 h 554655"/>
                <a:gd name="connsiteX128" fmla="*/ 0 w 1540608"/>
                <a:gd name="connsiteY128" fmla="*/ 277328 h 554655"/>
                <a:gd name="connsiteX129" fmla="*/ 5634 w 1540608"/>
                <a:gd name="connsiteY129" fmla="*/ 221437 h 554655"/>
                <a:gd name="connsiteX130" fmla="*/ 277328 w 1540608"/>
                <a:gd name="connsiteY130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40608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82999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54942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28032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12577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9810" y="0"/>
                  </a:lnTo>
                  <a:lnTo>
                    <a:pt x="885666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42900" y="0"/>
                  </a:lnTo>
                  <a:lnTo>
                    <a:pt x="957610" y="0"/>
                  </a:lnTo>
                  <a:lnTo>
                    <a:pt x="976469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4843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118248" y="0"/>
                  </a:lnTo>
                  <a:lnTo>
                    <a:pt x="1139641" y="0"/>
                  </a:lnTo>
                  <a:lnTo>
                    <a:pt x="1191337" y="0"/>
                  </a:lnTo>
                  <a:lnTo>
                    <a:pt x="1211584" y="0"/>
                  </a:lnTo>
                  <a:lnTo>
                    <a:pt x="1263281" y="0"/>
                  </a:lnTo>
                  <a:cubicBezTo>
                    <a:pt x="1416445" y="0"/>
                    <a:pt x="1540608" y="124164"/>
                    <a:pt x="1540608" y="277328"/>
                  </a:cubicBezTo>
                  <a:lnTo>
                    <a:pt x="1540607" y="277328"/>
                  </a:lnTo>
                  <a:cubicBezTo>
                    <a:pt x="1540607" y="430492"/>
                    <a:pt x="1416444" y="554655"/>
                    <a:pt x="1263280" y="554655"/>
                  </a:cubicBezTo>
                  <a:lnTo>
                    <a:pt x="1211586" y="554655"/>
                  </a:lnTo>
                  <a:lnTo>
                    <a:pt x="1211583" y="554655"/>
                  </a:lnTo>
                  <a:lnTo>
                    <a:pt x="1191337" y="554655"/>
                  </a:lnTo>
                  <a:lnTo>
                    <a:pt x="1191336" y="554655"/>
                  </a:lnTo>
                  <a:lnTo>
                    <a:pt x="1139643" y="554655"/>
                  </a:lnTo>
                  <a:lnTo>
                    <a:pt x="1139640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57609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grpSp>
          <p:nvGrpSpPr>
            <p:cNvPr id="6" name="Группа 5"/>
            <p:cNvGrpSpPr/>
            <p:nvPr/>
          </p:nvGrpSpPr>
          <p:grpSpPr>
            <a:xfrm>
              <a:off x="8871124" y="4439543"/>
              <a:ext cx="1070017" cy="554655"/>
              <a:chOff x="9006657" y="4977718"/>
              <a:chExt cx="1070017" cy="554655"/>
            </a:xfrm>
          </p:grpSpPr>
          <p:pic>
            <p:nvPicPr>
              <p:cNvPr id="25" name="Picture 2" descr="Asset 1.png"/>
              <p:cNvPicPr>
                <a:picLocks noChangeAspect="1" noChangeArrowheads="1"/>
              </p:cNvPicPr>
              <p:nvPr/>
            </p:nvPicPr>
            <p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9028"/>
              <a:stretch/>
            </p:blipFill>
            <p:spPr bwMode="auto">
              <a:xfrm>
                <a:off x="9150365" y="5016672"/>
                <a:ext cx="829935" cy="478220"/>
              </a:xfrm>
              <a:prstGeom prst="rect">
                <a:avLst/>
              </a:prstGeom>
              <a:solidFill>
                <a:srgbClr val="F0E8E5"/>
              </a:solidFill>
            </p:spPr>
          </p:pic>
          <p:sp>
            <p:nvSpPr>
              <p:cNvPr id="70" name="Полилиния 69"/>
              <p:cNvSpPr/>
              <p:nvPr/>
            </p:nvSpPr>
            <p:spPr>
              <a:xfrm>
                <a:off x="9006657" y="4977718"/>
                <a:ext cx="1070017" cy="554655"/>
              </a:xfrm>
              <a:custGeom>
                <a:avLst/>
                <a:gdLst>
                  <a:gd name="connsiteX0" fmla="*/ 277328 w 1070017"/>
                  <a:gd name="connsiteY0" fmla="*/ 0 h 554655"/>
                  <a:gd name="connsiteX1" fmla="*/ 309137 w 1070017"/>
                  <a:gd name="connsiteY1" fmla="*/ 0 h 554655"/>
                  <a:gd name="connsiteX2" fmla="*/ 309149 w 1070017"/>
                  <a:gd name="connsiteY2" fmla="*/ 0 h 554655"/>
                  <a:gd name="connsiteX3" fmla="*/ 327276 w 1070017"/>
                  <a:gd name="connsiteY3" fmla="*/ 0 h 554655"/>
                  <a:gd name="connsiteX4" fmla="*/ 329024 w 1070017"/>
                  <a:gd name="connsiteY4" fmla="*/ 0 h 554655"/>
                  <a:gd name="connsiteX5" fmla="*/ 329384 w 1070017"/>
                  <a:gd name="connsiteY5" fmla="*/ 0 h 554655"/>
                  <a:gd name="connsiteX6" fmla="*/ 349271 w 1070017"/>
                  <a:gd name="connsiteY6" fmla="*/ 0 h 554655"/>
                  <a:gd name="connsiteX7" fmla="*/ 360845 w 1070017"/>
                  <a:gd name="connsiteY7" fmla="*/ 0 h 554655"/>
                  <a:gd name="connsiteX8" fmla="*/ 378972 w 1070017"/>
                  <a:gd name="connsiteY8" fmla="*/ 0 h 554655"/>
                  <a:gd name="connsiteX9" fmla="*/ 381081 w 1070017"/>
                  <a:gd name="connsiteY9" fmla="*/ 0 h 554655"/>
                  <a:gd name="connsiteX10" fmla="*/ 381092 w 1070017"/>
                  <a:gd name="connsiteY10" fmla="*/ 0 h 554655"/>
                  <a:gd name="connsiteX11" fmla="*/ 399219 w 1070017"/>
                  <a:gd name="connsiteY11" fmla="*/ 0 h 554655"/>
                  <a:gd name="connsiteX12" fmla="*/ 400968 w 1070017"/>
                  <a:gd name="connsiteY12" fmla="*/ 0 h 554655"/>
                  <a:gd name="connsiteX13" fmla="*/ 422361 w 1070017"/>
                  <a:gd name="connsiteY13" fmla="*/ 0 h 554655"/>
                  <a:gd name="connsiteX14" fmla="*/ 432789 w 1070017"/>
                  <a:gd name="connsiteY14" fmla="*/ 0 h 554655"/>
                  <a:gd name="connsiteX15" fmla="*/ 450916 w 1070017"/>
                  <a:gd name="connsiteY15" fmla="*/ 0 h 554655"/>
                  <a:gd name="connsiteX16" fmla="*/ 454182 w 1070017"/>
                  <a:gd name="connsiteY16" fmla="*/ 0 h 554655"/>
                  <a:gd name="connsiteX17" fmla="*/ 472309 w 1070017"/>
                  <a:gd name="connsiteY17" fmla="*/ 0 h 554655"/>
                  <a:gd name="connsiteX18" fmla="*/ 474057 w 1070017"/>
                  <a:gd name="connsiteY18" fmla="*/ 0 h 554655"/>
                  <a:gd name="connsiteX19" fmla="*/ 474069 w 1070017"/>
                  <a:gd name="connsiteY19" fmla="*/ 0 h 554655"/>
                  <a:gd name="connsiteX20" fmla="*/ 492196 w 1070017"/>
                  <a:gd name="connsiteY20" fmla="*/ 0 h 554655"/>
                  <a:gd name="connsiteX21" fmla="*/ 494304 w 1070017"/>
                  <a:gd name="connsiteY21" fmla="*/ 0 h 554655"/>
                  <a:gd name="connsiteX22" fmla="*/ 505878 w 1070017"/>
                  <a:gd name="connsiteY22" fmla="*/ 0 h 554655"/>
                  <a:gd name="connsiteX23" fmla="*/ 524005 w 1070017"/>
                  <a:gd name="connsiteY23" fmla="*/ 0 h 554655"/>
                  <a:gd name="connsiteX24" fmla="*/ 524017 w 1070017"/>
                  <a:gd name="connsiteY24" fmla="*/ 0 h 554655"/>
                  <a:gd name="connsiteX25" fmla="*/ 525765 w 1070017"/>
                  <a:gd name="connsiteY25" fmla="*/ 0 h 554655"/>
                  <a:gd name="connsiteX26" fmla="*/ 526125 w 1070017"/>
                  <a:gd name="connsiteY26" fmla="*/ 0 h 554655"/>
                  <a:gd name="connsiteX27" fmla="*/ 543892 w 1070017"/>
                  <a:gd name="connsiteY27" fmla="*/ 0 h 554655"/>
                  <a:gd name="connsiteX28" fmla="*/ 544252 w 1070017"/>
                  <a:gd name="connsiteY28" fmla="*/ 0 h 554655"/>
                  <a:gd name="connsiteX29" fmla="*/ 546001 w 1070017"/>
                  <a:gd name="connsiteY29" fmla="*/ 0 h 554655"/>
                  <a:gd name="connsiteX30" fmla="*/ 546012 w 1070017"/>
                  <a:gd name="connsiteY30" fmla="*/ 0 h 554655"/>
                  <a:gd name="connsiteX31" fmla="*/ 564139 w 1070017"/>
                  <a:gd name="connsiteY31" fmla="*/ 0 h 554655"/>
                  <a:gd name="connsiteX32" fmla="*/ 575713 w 1070017"/>
                  <a:gd name="connsiteY32" fmla="*/ 0 h 554655"/>
                  <a:gd name="connsiteX33" fmla="*/ 577822 w 1070017"/>
                  <a:gd name="connsiteY33" fmla="*/ 0 h 554655"/>
                  <a:gd name="connsiteX34" fmla="*/ 595949 w 1070017"/>
                  <a:gd name="connsiteY34" fmla="*/ 0 h 554655"/>
                  <a:gd name="connsiteX35" fmla="*/ 595960 w 1070017"/>
                  <a:gd name="connsiteY35" fmla="*/ 0 h 554655"/>
                  <a:gd name="connsiteX36" fmla="*/ 597709 w 1070017"/>
                  <a:gd name="connsiteY36" fmla="*/ 0 h 554655"/>
                  <a:gd name="connsiteX37" fmla="*/ 615836 w 1070017"/>
                  <a:gd name="connsiteY37" fmla="*/ 0 h 554655"/>
                  <a:gd name="connsiteX38" fmla="*/ 619102 w 1070017"/>
                  <a:gd name="connsiteY38" fmla="*/ 0 h 554655"/>
                  <a:gd name="connsiteX39" fmla="*/ 637229 w 1070017"/>
                  <a:gd name="connsiteY39" fmla="*/ 0 h 554655"/>
                  <a:gd name="connsiteX40" fmla="*/ 647657 w 1070017"/>
                  <a:gd name="connsiteY40" fmla="*/ 0 h 554655"/>
                  <a:gd name="connsiteX41" fmla="*/ 669050 w 1070017"/>
                  <a:gd name="connsiteY41" fmla="*/ 0 h 554655"/>
                  <a:gd name="connsiteX42" fmla="*/ 670798 w 1070017"/>
                  <a:gd name="connsiteY42" fmla="*/ 0 h 554655"/>
                  <a:gd name="connsiteX43" fmla="*/ 688925 w 1070017"/>
                  <a:gd name="connsiteY43" fmla="*/ 0 h 554655"/>
                  <a:gd name="connsiteX44" fmla="*/ 688937 w 1070017"/>
                  <a:gd name="connsiteY44" fmla="*/ 0 h 554655"/>
                  <a:gd name="connsiteX45" fmla="*/ 691045 w 1070017"/>
                  <a:gd name="connsiteY45" fmla="*/ 0 h 554655"/>
                  <a:gd name="connsiteX46" fmla="*/ 709172 w 1070017"/>
                  <a:gd name="connsiteY46" fmla="*/ 0 h 554655"/>
                  <a:gd name="connsiteX47" fmla="*/ 720746 w 1070017"/>
                  <a:gd name="connsiteY47" fmla="*/ 0 h 554655"/>
                  <a:gd name="connsiteX48" fmla="*/ 740633 w 1070017"/>
                  <a:gd name="connsiteY48" fmla="*/ 0 h 554655"/>
                  <a:gd name="connsiteX49" fmla="*/ 740993 w 1070017"/>
                  <a:gd name="connsiteY49" fmla="*/ 0 h 554655"/>
                  <a:gd name="connsiteX50" fmla="*/ 742742 w 1070017"/>
                  <a:gd name="connsiteY50" fmla="*/ 0 h 554655"/>
                  <a:gd name="connsiteX51" fmla="*/ 760869 w 1070017"/>
                  <a:gd name="connsiteY51" fmla="*/ 0 h 554655"/>
                  <a:gd name="connsiteX52" fmla="*/ 760880 w 1070017"/>
                  <a:gd name="connsiteY52" fmla="*/ 0 h 554655"/>
                  <a:gd name="connsiteX53" fmla="*/ 792690 w 1070017"/>
                  <a:gd name="connsiteY53" fmla="*/ 0 h 554655"/>
                  <a:gd name="connsiteX54" fmla="*/ 1070017 w 1070017"/>
                  <a:gd name="connsiteY54" fmla="*/ 277328 h 554655"/>
                  <a:gd name="connsiteX55" fmla="*/ 1070016 w 1070017"/>
                  <a:gd name="connsiteY55" fmla="*/ 277328 h 554655"/>
                  <a:gd name="connsiteX56" fmla="*/ 792689 w 1070017"/>
                  <a:gd name="connsiteY56" fmla="*/ 554655 h 554655"/>
                  <a:gd name="connsiteX57" fmla="*/ 760882 w 1070017"/>
                  <a:gd name="connsiteY57" fmla="*/ 554655 h 554655"/>
                  <a:gd name="connsiteX58" fmla="*/ 760879 w 1070017"/>
                  <a:gd name="connsiteY58" fmla="*/ 554655 h 554655"/>
                  <a:gd name="connsiteX59" fmla="*/ 760868 w 1070017"/>
                  <a:gd name="connsiteY59" fmla="*/ 554655 h 554655"/>
                  <a:gd name="connsiteX60" fmla="*/ 740995 w 1070017"/>
                  <a:gd name="connsiteY60" fmla="*/ 554655 h 554655"/>
                  <a:gd name="connsiteX61" fmla="*/ 740992 w 1070017"/>
                  <a:gd name="connsiteY61" fmla="*/ 554655 h 554655"/>
                  <a:gd name="connsiteX62" fmla="*/ 740633 w 1070017"/>
                  <a:gd name="connsiteY62" fmla="*/ 554655 h 554655"/>
                  <a:gd name="connsiteX63" fmla="*/ 740632 w 1070017"/>
                  <a:gd name="connsiteY63" fmla="*/ 554655 h 554655"/>
                  <a:gd name="connsiteX64" fmla="*/ 720746 w 1070017"/>
                  <a:gd name="connsiteY64" fmla="*/ 554655 h 554655"/>
                  <a:gd name="connsiteX65" fmla="*/ 720745 w 1070017"/>
                  <a:gd name="connsiteY65" fmla="*/ 554655 h 554655"/>
                  <a:gd name="connsiteX66" fmla="*/ 709174 w 1070017"/>
                  <a:gd name="connsiteY66" fmla="*/ 554655 h 554655"/>
                  <a:gd name="connsiteX67" fmla="*/ 709171 w 1070017"/>
                  <a:gd name="connsiteY67" fmla="*/ 554655 h 554655"/>
                  <a:gd name="connsiteX68" fmla="*/ 688938 w 1070017"/>
                  <a:gd name="connsiteY68" fmla="*/ 554655 h 554655"/>
                  <a:gd name="connsiteX69" fmla="*/ 688936 w 1070017"/>
                  <a:gd name="connsiteY69" fmla="*/ 554655 h 554655"/>
                  <a:gd name="connsiteX70" fmla="*/ 688925 w 1070017"/>
                  <a:gd name="connsiteY70" fmla="*/ 554655 h 554655"/>
                  <a:gd name="connsiteX71" fmla="*/ 688924 w 1070017"/>
                  <a:gd name="connsiteY71" fmla="*/ 554655 h 554655"/>
                  <a:gd name="connsiteX72" fmla="*/ 669052 w 1070017"/>
                  <a:gd name="connsiteY72" fmla="*/ 554655 h 554655"/>
                  <a:gd name="connsiteX73" fmla="*/ 669049 w 1070017"/>
                  <a:gd name="connsiteY73" fmla="*/ 554655 h 554655"/>
                  <a:gd name="connsiteX74" fmla="*/ 647657 w 1070017"/>
                  <a:gd name="connsiteY74" fmla="*/ 554655 h 554655"/>
                  <a:gd name="connsiteX75" fmla="*/ 647656 w 1070017"/>
                  <a:gd name="connsiteY75" fmla="*/ 554655 h 554655"/>
                  <a:gd name="connsiteX76" fmla="*/ 637231 w 1070017"/>
                  <a:gd name="connsiteY76" fmla="*/ 554655 h 554655"/>
                  <a:gd name="connsiteX77" fmla="*/ 637228 w 1070017"/>
                  <a:gd name="connsiteY77" fmla="*/ 554655 h 554655"/>
                  <a:gd name="connsiteX78" fmla="*/ 615836 w 1070017"/>
                  <a:gd name="connsiteY78" fmla="*/ 554655 h 554655"/>
                  <a:gd name="connsiteX79" fmla="*/ 615835 w 1070017"/>
                  <a:gd name="connsiteY79" fmla="*/ 554655 h 554655"/>
                  <a:gd name="connsiteX80" fmla="*/ 595962 w 1070017"/>
                  <a:gd name="connsiteY80" fmla="*/ 554655 h 554655"/>
                  <a:gd name="connsiteX81" fmla="*/ 595959 w 1070017"/>
                  <a:gd name="connsiteY81" fmla="*/ 554655 h 554655"/>
                  <a:gd name="connsiteX82" fmla="*/ 595948 w 1070017"/>
                  <a:gd name="connsiteY82" fmla="*/ 554655 h 554655"/>
                  <a:gd name="connsiteX83" fmla="*/ 575713 w 1070017"/>
                  <a:gd name="connsiteY83" fmla="*/ 554655 h 554655"/>
                  <a:gd name="connsiteX84" fmla="*/ 575712 w 1070017"/>
                  <a:gd name="connsiteY84" fmla="*/ 554655 h 554655"/>
                  <a:gd name="connsiteX85" fmla="*/ 564141 w 1070017"/>
                  <a:gd name="connsiteY85" fmla="*/ 554655 h 554655"/>
                  <a:gd name="connsiteX86" fmla="*/ 564138 w 1070017"/>
                  <a:gd name="connsiteY86" fmla="*/ 554655 h 554655"/>
                  <a:gd name="connsiteX87" fmla="*/ 544254 w 1070017"/>
                  <a:gd name="connsiteY87" fmla="*/ 554655 h 554655"/>
                  <a:gd name="connsiteX88" fmla="*/ 544251 w 1070017"/>
                  <a:gd name="connsiteY88" fmla="*/ 554655 h 554655"/>
                  <a:gd name="connsiteX89" fmla="*/ 543892 w 1070017"/>
                  <a:gd name="connsiteY89" fmla="*/ 554655 h 554655"/>
                  <a:gd name="connsiteX90" fmla="*/ 543891 w 1070017"/>
                  <a:gd name="connsiteY90" fmla="*/ 554655 h 554655"/>
                  <a:gd name="connsiteX91" fmla="*/ 524018 w 1070017"/>
                  <a:gd name="connsiteY91" fmla="*/ 554655 h 554655"/>
                  <a:gd name="connsiteX92" fmla="*/ 524016 w 1070017"/>
                  <a:gd name="connsiteY92" fmla="*/ 554655 h 554655"/>
                  <a:gd name="connsiteX93" fmla="*/ 524005 w 1070017"/>
                  <a:gd name="connsiteY93" fmla="*/ 554655 h 554655"/>
                  <a:gd name="connsiteX94" fmla="*/ 524004 w 1070017"/>
                  <a:gd name="connsiteY94" fmla="*/ 554655 h 554655"/>
                  <a:gd name="connsiteX95" fmla="*/ 492197 w 1070017"/>
                  <a:gd name="connsiteY95" fmla="*/ 554655 h 554655"/>
                  <a:gd name="connsiteX96" fmla="*/ 492195 w 1070017"/>
                  <a:gd name="connsiteY96" fmla="*/ 554655 h 554655"/>
                  <a:gd name="connsiteX97" fmla="*/ 277328 w 1070017"/>
                  <a:gd name="connsiteY97" fmla="*/ 554654 h 554655"/>
                  <a:gd name="connsiteX98" fmla="*/ 5634 w 1070017"/>
                  <a:gd name="connsiteY98" fmla="*/ 333218 h 554655"/>
                  <a:gd name="connsiteX99" fmla="*/ 0 w 1070017"/>
                  <a:gd name="connsiteY99" fmla="*/ 277328 h 554655"/>
                  <a:gd name="connsiteX100" fmla="*/ 5634 w 1070017"/>
                  <a:gd name="connsiteY100" fmla="*/ 221437 h 554655"/>
                  <a:gd name="connsiteX101" fmla="*/ 277328 w 1070017"/>
                  <a:gd name="connsiteY101" fmla="*/ 0 h 554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1070017" h="554655">
                    <a:moveTo>
                      <a:pt x="277328" y="0"/>
                    </a:moveTo>
                    <a:lnTo>
                      <a:pt x="309137" y="0"/>
                    </a:lnTo>
                    <a:lnTo>
                      <a:pt x="309149" y="0"/>
                    </a:lnTo>
                    <a:lnTo>
                      <a:pt x="327276" y="0"/>
                    </a:lnTo>
                    <a:lnTo>
                      <a:pt x="329024" y="0"/>
                    </a:lnTo>
                    <a:lnTo>
                      <a:pt x="329384" y="0"/>
                    </a:lnTo>
                    <a:lnTo>
                      <a:pt x="349271" y="0"/>
                    </a:lnTo>
                    <a:lnTo>
                      <a:pt x="360845" y="0"/>
                    </a:lnTo>
                    <a:lnTo>
                      <a:pt x="378972" y="0"/>
                    </a:lnTo>
                    <a:lnTo>
                      <a:pt x="381081" y="0"/>
                    </a:lnTo>
                    <a:lnTo>
                      <a:pt x="381092" y="0"/>
                    </a:lnTo>
                    <a:lnTo>
                      <a:pt x="399219" y="0"/>
                    </a:lnTo>
                    <a:lnTo>
                      <a:pt x="400968" y="0"/>
                    </a:lnTo>
                    <a:lnTo>
                      <a:pt x="422361" y="0"/>
                    </a:lnTo>
                    <a:lnTo>
                      <a:pt x="432789" y="0"/>
                    </a:lnTo>
                    <a:lnTo>
                      <a:pt x="450916" y="0"/>
                    </a:lnTo>
                    <a:lnTo>
                      <a:pt x="454182" y="0"/>
                    </a:lnTo>
                    <a:lnTo>
                      <a:pt x="472309" y="0"/>
                    </a:lnTo>
                    <a:lnTo>
                      <a:pt x="474057" y="0"/>
                    </a:lnTo>
                    <a:lnTo>
                      <a:pt x="474069" y="0"/>
                    </a:lnTo>
                    <a:lnTo>
                      <a:pt x="492196" y="0"/>
                    </a:lnTo>
                    <a:lnTo>
                      <a:pt x="494304" y="0"/>
                    </a:lnTo>
                    <a:lnTo>
                      <a:pt x="505878" y="0"/>
                    </a:lnTo>
                    <a:lnTo>
                      <a:pt x="524005" y="0"/>
                    </a:lnTo>
                    <a:lnTo>
                      <a:pt x="524017" y="0"/>
                    </a:lnTo>
                    <a:lnTo>
                      <a:pt x="525765" y="0"/>
                    </a:lnTo>
                    <a:lnTo>
                      <a:pt x="526125" y="0"/>
                    </a:lnTo>
                    <a:lnTo>
                      <a:pt x="543892" y="0"/>
                    </a:lnTo>
                    <a:lnTo>
                      <a:pt x="544252" y="0"/>
                    </a:lnTo>
                    <a:lnTo>
                      <a:pt x="546001" y="0"/>
                    </a:lnTo>
                    <a:lnTo>
                      <a:pt x="546012" y="0"/>
                    </a:lnTo>
                    <a:lnTo>
                      <a:pt x="564139" y="0"/>
                    </a:lnTo>
                    <a:lnTo>
                      <a:pt x="575713" y="0"/>
                    </a:lnTo>
                    <a:lnTo>
                      <a:pt x="577822" y="0"/>
                    </a:lnTo>
                    <a:lnTo>
                      <a:pt x="595949" y="0"/>
                    </a:lnTo>
                    <a:lnTo>
                      <a:pt x="595960" y="0"/>
                    </a:lnTo>
                    <a:lnTo>
                      <a:pt x="597709" y="0"/>
                    </a:lnTo>
                    <a:lnTo>
                      <a:pt x="615836" y="0"/>
                    </a:lnTo>
                    <a:lnTo>
                      <a:pt x="619102" y="0"/>
                    </a:lnTo>
                    <a:lnTo>
                      <a:pt x="637229" y="0"/>
                    </a:lnTo>
                    <a:lnTo>
                      <a:pt x="647657" y="0"/>
                    </a:lnTo>
                    <a:lnTo>
                      <a:pt x="669050" y="0"/>
                    </a:lnTo>
                    <a:lnTo>
                      <a:pt x="670798" y="0"/>
                    </a:lnTo>
                    <a:lnTo>
                      <a:pt x="688925" y="0"/>
                    </a:lnTo>
                    <a:lnTo>
                      <a:pt x="688937" y="0"/>
                    </a:lnTo>
                    <a:lnTo>
                      <a:pt x="691045" y="0"/>
                    </a:lnTo>
                    <a:lnTo>
                      <a:pt x="709172" y="0"/>
                    </a:lnTo>
                    <a:lnTo>
                      <a:pt x="720746" y="0"/>
                    </a:lnTo>
                    <a:lnTo>
                      <a:pt x="740633" y="0"/>
                    </a:lnTo>
                    <a:lnTo>
                      <a:pt x="740993" y="0"/>
                    </a:lnTo>
                    <a:lnTo>
                      <a:pt x="742742" y="0"/>
                    </a:lnTo>
                    <a:lnTo>
                      <a:pt x="760869" y="0"/>
                    </a:lnTo>
                    <a:lnTo>
                      <a:pt x="760880" y="0"/>
                    </a:lnTo>
                    <a:lnTo>
                      <a:pt x="792690" y="0"/>
                    </a:lnTo>
                    <a:cubicBezTo>
                      <a:pt x="945854" y="0"/>
                      <a:pt x="1070017" y="124164"/>
                      <a:pt x="1070017" y="277328"/>
                    </a:cubicBezTo>
                    <a:lnTo>
                      <a:pt x="1070016" y="277328"/>
                    </a:lnTo>
                    <a:cubicBezTo>
                      <a:pt x="1070016" y="430492"/>
                      <a:pt x="945853" y="554655"/>
                      <a:pt x="792689" y="554655"/>
                    </a:cubicBezTo>
                    <a:lnTo>
                      <a:pt x="760882" y="554655"/>
                    </a:lnTo>
                    <a:lnTo>
                      <a:pt x="760879" y="554655"/>
                    </a:lnTo>
                    <a:lnTo>
                      <a:pt x="760868" y="554655"/>
                    </a:lnTo>
                    <a:lnTo>
                      <a:pt x="740995" y="554655"/>
                    </a:lnTo>
                    <a:lnTo>
                      <a:pt x="740992" y="554655"/>
                    </a:lnTo>
                    <a:lnTo>
                      <a:pt x="740633" y="554655"/>
                    </a:lnTo>
                    <a:lnTo>
                      <a:pt x="740632" y="554655"/>
                    </a:lnTo>
                    <a:lnTo>
                      <a:pt x="720746" y="554655"/>
                    </a:lnTo>
                    <a:lnTo>
                      <a:pt x="720745" y="554655"/>
                    </a:lnTo>
                    <a:lnTo>
                      <a:pt x="709174" y="554655"/>
                    </a:lnTo>
                    <a:lnTo>
                      <a:pt x="709171" y="554655"/>
                    </a:lnTo>
                    <a:lnTo>
                      <a:pt x="688938" y="554655"/>
                    </a:lnTo>
                    <a:lnTo>
                      <a:pt x="688936" y="554655"/>
                    </a:lnTo>
                    <a:lnTo>
                      <a:pt x="688925" y="554655"/>
                    </a:lnTo>
                    <a:lnTo>
                      <a:pt x="688924" y="554655"/>
                    </a:lnTo>
                    <a:lnTo>
                      <a:pt x="669052" y="554655"/>
                    </a:lnTo>
                    <a:lnTo>
                      <a:pt x="669049" y="554655"/>
                    </a:lnTo>
                    <a:lnTo>
                      <a:pt x="647657" y="554655"/>
                    </a:lnTo>
                    <a:lnTo>
                      <a:pt x="647656" y="554655"/>
                    </a:lnTo>
                    <a:lnTo>
                      <a:pt x="637231" y="554655"/>
                    </a:lnTo>
                    <a:lnTo>
                      <a:pt x="637228" y="554655"/>
                    </a:lnTo>
                    <a:lnTo>
                      <a:pt x="615836" y="554655"/>
                    </a:lnTo>
                    <a:lnTo>
                      <a:pt x="615835" y="554655"/>
                    </a:lnTo>
                    <a:lnTo>
                      <a:pt x="595962" y="554655"/>
                    </a:lnTo>
                    <a:lnTo>
                      <a:pt x="595959" y="554655"/>
                    </a:lnTo>
                    <a:lnTo>
                      <a:pt x="595948" y="554655"/>
                    </a:lnTo>
                    <a:lnTo>
                      <a:pt x="575713" y="554655"/>
                    </a:lnTo>
                    <a:lnTo>
                      <a:pt x="575712" y="554655"/>
                    </a:lnTo>
                    <a:lnTo>
                      <a:pt x="564141" y="554655"/>
                    </a:lnTo>
                    <a:lnTo>
                      <a:pt x="564138" y="554655"/>
                    </a:lnTo>
                    <a:lnTo>
                      <a:pt x="544254" y="554655"/>
                    </a:lnTo>
                    <a:lnTo>
                      <a:pt x="544251" y="554655"/>
                    </a:lnTo>
                    <a:lnTo>
                      <a:pt x="543892" y="554655"/>
                    </a:lnTo>
                    <a:lnTo>
                      <a:pt x="543891" y="554655"/>
                    </a:lnTo>
                    <a:lnTo>
                      <a:pt x="524018" y="554655"/>
                    </a:lnTo>
                    <a:lnTo>
                      <a:pt x="524016" y="554655"/>
                    </a:lnTo>
                    <a:lnTo>
                      <a:pt x="524005" y="554655"/>
                    </a:lnTo>
                    <a:lnTo>
                      <a:pt x="524004" y="554655"/>
                    </a:lnTo>
                    <a:lnTo>
                      <a:pt x="492197" y="554655"/>
                    </a:lnTo>
                    <a:lnTo>
                      <a:pt x="492195" y="554655"/>
                    </a:lnTo>
                    <a:lnTo>
                      <a:pt x="277328" y="554654"/>
                    </a:lnTo>
                    <a:cubicBezTo>
                      <a:pt x="143309" y="554654"/>
                      <a:pt x="31494" y="459591"/>
                      <a:pt x="5634" y="333218"/>
                    </a:cubicBezTo>
                    <a:lnTo>
                      <a:pt x="0" y="277328"/>
                    </a:lnTo>
                    <a:lnTo>
                      <a:pt x="5634" y="221437"/>
                    </a:lnTo>
                    <a:cubicBezTo>
                      <a:pt x="31494" y="95063"/>
                      <a:pt x="143309" y="0"/>
                      <a:pt x="277328" y="0"/>
                    </a:cubicBezTo>
                    <a:close/>
                  </a:path>
                </a:pathLst>
              </a:custGeom>
              <a:noFill/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5" name="Группа 4"/>
            <p:cNvGrpSpPr/>
            <p:nvPr/>
          </p:nvGrpSpPr>
          <p:grpSpPr>
            <a:xfrm>
              <a:off x="10047329" y="4438301"/>
              <a:ext cx="1680912" cy="554655"/>
              <a:chOff x="10168722" y="5000587"/>
              <a:chExt cx="1680912" cy="554655"/>
            </a:xfrm>
          </p:grpSpPr>
          <p:pic>
            <p:nvPicPr>
              <p:cNvPr id="28" name="Рисунок 27"/>
              <p:cNvPicPr>
                <a:picLocks noChangeAspect="1"/>
              </p:cNvPicPr>
              <p:nvPr/>
            </p:nvPicPr>
            <p:blipFill>
              <a:blip r:embed="rId9"/>
              <a:stretch>
                <a:fillRect/>
              </a:stretch>
            </p:blipFill>
            <p:spPr>
              <a:xfrm>
                <a:off x="10415471" y="5112540"/>
                <a:ext cx="1243237" cy="334266"/>
              </a:xfrm>
              <a:prstGeom prst="rect">
                <a:avLst/>
              </a:prstGeom>
              <a:solidFill>
                <a:schemeClr val="bg1"/>
              </a:solidFill>
            </p:spPr>
          </p:pic>
          <p:sp>
            <p:nvSpPr>
              <p:cNvPr id="72" name="Полилиния 71"/>
              <p:cNvSpPr/>
              <p:nvPr/>
            </p:nvSpPr>
            <p:spPr>
              <a:xfrm>
                <a:off x="10168722" y="5000587"/>
                <a:ext cx="1680912" cy="554655"/>
              </a:xfrm>
              <a:custGeom>
                <a:avLst/>
                <a:gdLst>
                  <a:gd name="connsiteX0" fmla="*/ 277328 w 1680912"/>
                  <a:gd name="connsiteY0" fmla="*/ 0 h 554655"/>
                  <a:gd name="connsiteX1" fmla="*/ 329024 w 1680912"/>
                  <a:gd name="connsiteY1" fmla="*/ 0 h 554655"/>
                  <a:gd name="connsiteX2" fmla="*/ 349271 w 1680912"/>
                  <a:gd name="connsiteY2" fmla="*/ 0 h 554655"/>
                  <a:gd name="connsiteX3" fmla="*/ 400968 w 1680912"/>
                  <a:gd name="connsiteY3" fmla="*/ 0 h 554655"/>
                  <a:gd name="connsiteX4" fmla="*/ 417632 w 1680912"/>
                  <a:gd name="connsiteY4" fmla="*/ 0 h 554655"/>
                  <a:gd name="connsiteX5" fmla="*/ 422361 w 1680912"/>
                  <a:gd name="connsiteY5" fmla="*/ 0 h 554655"/>
                  <a:gd name="connsiteX6" fmla="*/ 469328 w 1680912"/>
                  <a:gd name="connsiteY6" fmla="*/ 0 h 554655"/>
                  <a:gd name="connsiteX7" fmla="*/ 474057 w 1680912"/>
                  <a:gd name="connsiteY7" fmla="*/ 0 h 554655"/>
                  <a:gd name="connsiteX8" fmla="*/ 474069 w 1680912"/>
                  <a:gd name="connsiteY8" fmla="*/ 0 h 554655"/>
                  <a:gd name="connsiteX9" fmla="*/ 489575 w 1680912"/>
                  <a:gd name="connsiteY9" fmla="*/ 0 h 554655"/>
                  <a:gd name="connsiteX10" fmla="*/ 492196 w 1680912"/>
                  <a:gd name="connsiteY10" fmla="*/ 0 h 554655"/>
                  <a:gd name="connsiteX11" fmla="*/ 494304 w 1680912"/>
                  <a:gd name="connsiteY11" fmla="*/ 0 h 554655"/>
                  <a:gd name="connsiteX12" fmla="*/ 525765 w 1680912"/>
                  <a:gd name="connsiteY12" fmla="*/ 0 h 554655"/>
                  <a:gd name="connsiteX13" fmla="*/ 541272 w 1680912"/>
                  <a:gd name="connsiteY13" fmla="*/ 0 h 554655"/>
                  <a:gd name="connsiteX14" fmla="*/ 543892 w 1680912"/>
                  <a:gd name="connsiteY14" fmla="*/ 0 h 554655"/>
                  <a:gd name="connsiteX15" fmla="*/ 546001 w 1680912"/>
                  <a:gd name="connsiteY15" fmla="*/ 0 h 554655"/>
                  <a:gd name="connsiteX16" fmla="*/ 546012 w 1680912"/>
                  <a:gd name="connsiteY16" fmla="*/ 0 h 554655"/>
                  <a:gd name="connsiteX17" fmla="*/ 562665 w 1680912"/>
                  <a:gd name="connsiteY17" fmla="*/ 0 h 554655"/>
                  <a:gd name="connsiteX18" fmla="*/ 564139 w 1680912"/>
                  <a:gd name="connsiteY18" fmla="*/ 0 h 554655"/>
                  <a:gd name="connsiteX19" fmla="*/ 582999 w 1680912"/>
                  <a:gd name="connsiteY19" fmla="*/ 0 h 554655"/>
                  <a:gd name="connsiteX20" fmla="*/ 597709 w 1680912"/>
                  <a:gd name="connsiteY20" fmla="*/ 0 h 554655"/>
                  <a:gd name="connsiteX21" fmla="*/ 614361 w 1680912"/>
                  <a:gd name="connsiteY21" fmla="*/ 0 h 554655"/>
                  <a:gd name="connsiteX22" fmla="*/ 614373 w 1680912"/>
                  <a:gd name="connsiteY22" fmla="*/ 0 h 554655"/>
                  <a:gd name="connsiteX23" fmla="*/ 615836 w 1680912"/>
                  <a:gd name="connsiteY23" fmla="*/ 0 h 554655"/>
                  <a:gd name="connsiteX24" fmla="*/ 619102 w 1680912"/>
                  <a:gd name="connsiteY24" fmla="*/ 0 h 554655"/>
                  <a:gd name="connsiteX25" fmla="*/ 632500 w 1680912"/>
                  <a:gd name="connsiteY25" fmla="*/ 0 h 554655"/>
                  <a:gd name="connsiteX26" fmla="*/ 634608 w 1680912"/>
                  <a:gd name="connsiteY26" fmla="*/ 0 h 554655"/>
                  <a:gd name="connsiteX27" fmla="*/ 634695 w 1680912"/>
                  <a:gd name="connsiteY27" fmla="*/ 0 h 554655"/>
                  <a:gd name="connsiteX28" fmla="*/ 637229 w 1680912"/>
                  <a:gd name="connsiteY28" fmla="*/ 0 h 554655"/>
                  <a:gd name="connsiteX29" fmla="*/ 654942 w 1680912"/>
                  <a:gd name="connsiteY29" fmla="*/ 0 h 554655"/>
                  <a:gd name="connsiteX30" fmla="*/ 666069 w 1680912"/>
                  <a:gd name="connsiteY30" fmla="*/ 0 h 554655"/>
                  <a:gd name="connsiteX31" fmla="*/ 670798 w 1680912"/>
                  <a:gd name="connsiteY31" fmla="*/ 0 h 554655"/>
                  <a:gd name="connsiteX32" fmla="*/ 684196 w 1680912"/>
                  <a:gd name="connsiteY32" fmla="*/ 0 h 554655"/>
                  <a:gd name="connsiteX33" fmla="*/ 686305 w 1680912"/>
                  <a:gd name="connsiteY33" fmla="*/ 0 h 554655"/>
                  <a:gd name="connsiteX34" fmla="*/ 686316 w 1680912"/>
                  <a:gd name="connsiteY34" fmla="*/ 0 h 554655"/>
                  <a:gd name="connsiteX35" fmla="*/ 688925 w 1680912"/>
                  <a:gd name="connsiteY35" fmla="*/ 0 h 554655"/>
                  <a:gd name="connsiteX36" fmla="*/ 688937 w 1680912"/>
                  <a:gd name="connsiteY36" fmla="*/ 0 h 554655"/>
                  <a:gd name="connsiteX37" fmla="*/ 691045 w 1680912"/>
                  <a:gd name="connsiteY37" fmla="*/ 0 h 554655"/>
                  <a:gd name="connsiteX38" fmla="*/ 704443 w 1680912"/>
                  <a:gd name="connsiteY38" fmla="*/ 0 h 554655"/>
                  <a:gd name="connsiteX39" fmla="*/ 706639 w 1680912"/>
                  <a:gd name="connsiteY39" fmla="*/ 0 h 554655"/>
                  <a:gd name="connsiteX40" fmla="*/ 709172 w 1680912"/>
                  <a:gd name="connsiteY40" fmla="*/ 0 h 554655"/>
                  <a:gd name="connsiteX41" fmla="*/ 723303 w 1680912"/>
                  <a:gd name="connsiteY41" fmla="*/ 0 h 554655"/>
                  <a:gd name="connsiteX42" fmla="*/ 728032 w 1680912"/>
                  <a:gd name="connsiteY42" fmla="*/ 0 h 554655"/>
                  <a:gd name="connsiteX43" fmla="*/ 738013 w 1680912"/>
                  <a:gd name="connsiteY43" fmla="*/ 0 h 554655"/>
                  <a:gd name="connsiteX44" fmla="*/ 740633 w 1680912"/>
                  <a:gd name="connsiteY44" fmla="*/ 0 h 554655"/>
                  <a:gd name="connsiteX45" fmla="*/ 742742 w 1680912"/>
                  <a:gd name="connsiteY45" fmla="*/ 0 h 554655"/>
                  <a:gd name="connsiteX46" fmla="*/ 756140 w 1680912"/>
                  <a:gd name="connsiteY46" fmla="*/ 0 h 554655"/>
                  <a:gd name="connsiteX47" fmla="*/ 759406 w 1680912"/>
                  <a:gd name="connsiteY47" fmla="*/ 0 h 554655"/>
                  <a:gd name="connsiteX48" fmla="*/ 760869 w 1680912"/>
                  <a:gd name="connsiteY48" fmla="*/ 0 h 554655"/>
                  <a:gd name="connsiteX49" fmla="*/ 760880 w 1680912"/>
                  <a:gd name="connsiteY49" fmla="*/ 0 h 554655"/>
                  <a:gd name="connsiteX50" fmla="*/ 774999 w 1680912"/>
                  <a:gd name="connsiteY50" fmla="*/ 0 h 554655"/>
                  <a:gd name="connsiteX51" fmla="*/ 777533 w 1680912"/>
                  <a:gd name="connsiteY51" fmla="*/ 0 h 554655"/>
                  <a:gd name="connsiteX52" fmla="*/ 779728 w 1680912"/>
                  <a:gd name="connsiteY52" fmla="*/ 0 h 554655"/>
                  <a:gd name="connsiteX53" fmla="*/ 779740 w 1680912"/>
                  <a:gd name="connsiteY53" fmla="*/ 0 h 554655"/>
                  <a:gd name="connsiteX54" fmla="*/ 795246 w 1680912"/>
                  <a:gd name="connsiteY54" fmla="*/ 0 h 554655"/>
                  <a:gd name="connsiteX55" fmla="*/ 797867 w 1680912"/>
                  <a:gd name="connsiteY55" fmla="*/ 0 h 554655"/>
                  <a:gd name="connsiteX56" fmla="*/ 799975 w 1680912"/>
                  <a:gd name="connsiteY56" fmla="*/ 0 h 554655"/>
                  <a:gd name="connsiteX57" fmla="*/ 811102 w 1680912"/>
                  <a:gd name="connsiteY57" fmla="*/ 0 h 554655"/>
                  <a:gd name="connsiteX58" fmla="*/ 812577 w 1680912"/>
                  <a:gd name="connsiteY58" fmla="*/ 0 h 554655"/>
                  <a:gd name="connsiteX59" fmla="*/ 829229 w 1680912"/>
                  <a:gd name="connsiteY59" fmla="*/ 0 h 554655"/>
                  <a:gd name="connsiteX60" fmla="*/ 829241 w 1680912"/>
                  <a:gd name="connsiteY60" fmla="*/ 0 h 554655"/>
                  <a:gd name="connsiteX61" fmla="*/ 831349 w 1680912"/>
                  <a:gd name="connsiteY61" fmla="*/ 0 h 554655"/>
                  <a:gd name="connsiteX62" fmla="*/ 831436 w 1680912"/>
                  <a:gd name="connsiteY62" fmla="*/ 0 h 554655"/>
                  <a:gd name="connsiteX63" fmla="*/ 833970 w 1680912"/>
                  <a:gd name="connsiteY63" fmla="*/ 0 h 554655"/>
                  <a:gd name="connsiteX64" fmla="*/ 846943 w 1680912"/>
                  <a:gd name="connsiteY64" fmla="*/ 0 h 554655"/>
                  <a:gd name="connsiteX65" fmla="*/ 849476 w 1680912"/>
                  <a:gd name="connsiteY65" fmla="*/ 0 h 554655"/>
                  <a:gd name="connsiteX66" fmla="*/ 849563 w 1680912"/>
                  <a:gd name="connsiteY66" fmla="*/ 0 h 554655"/>
                  <a:gd name="connsiteX67" fmla="*/ 851672 w 1680912"/>
                  <a:gd name="connsiteY67" fmla="*/ 0 h 554655"/>
                  <a:gd name="connsiteX68" fmla="*/ 851683 w 1680912"/>
                  <a:gd name="connsiteY68" fmla="*/ 0 h 554655"/>
                  <a:gd name="connsiteX69" fmla="*/ 868336 w 1680912"/>
                  <a:gd name="connsiteY69" fmla="*/ 0 h 554655"/>
                  <a:gd name="connsiteX70" fmla="*/ 869810 w 1680912"/>
                  <a:gd name="connsiteY70" fmla="*/ 0 h 554655"/>
                  <a:gd name="connsiteX71" fmla="*/ 880937 w 1680912"/>
                  <a:gd name="connsiteY71" fmla="*/ 0 h 554655"/>
                  <a:gd name="connsiteX72" fmla="*/ 883046 w 1680912"/>
                  <a:gd name="connsiteY72" fmla="*/ 0 h 554655"/>
                  <a:gd name="connsiteX73" fmla="*/ 885666 w 1680912"/>
                  <a:gd name="connsiteY73" fmla="*/ 0 h 554655"/>
                  <a:gd name="connsiteX74" fmla="*/ 901173 w 1680912"/>
                  <a:gd name="connsiteY74" fmla="*/ 0 h 554655"/>
                  <a:gd name="connsiteX75" fmla="*/ 901184 w 1680912"/>
                  <a:gd name="connsiteY75" fmla="*/ 0 h 554655"/>
                  <a:gd name="connsiteX76" fmla="*/ 903380 w 1680912"/>
                  <a:gd name="connsiteY76" fmla="*/ 0 h 554655"/>
                  <a:gd name="connsiteX77" fmla="*/ 905913 w 1680912"/>
                  <a:gd name="connsiteY77" fmla="*/ 0 h 554655"/>
                  <a:gd name="connsiteX78" fmla="*/ 920032 w 1680912"/>
                  <a:gd name="connsiteY78" fmla="*/ 0 h 554655"/>
                  <a:gd name="connsiteX79" fmla="*/ 920044 w 1680912"/>
                  <a:gd name="connsiteY79" fmla="*/ 0 h 554655"/>
                  <a:gd name="connsiteX80" fmla="*/ 921507 w 1680912"/>
                  <a:gd name="connsiteY80" fmla="*/ 0 h 554655"/>
                  <a:gd name="connsiteX81" fmla="*/ 924773 w 1680912"/>
                  <a:gd name="connsiteY81" fmla="*/ 0 h 554655"/>
                  <a:gd name="connsiteX82" fmla="*/ 938171 w 1680912"/>
                  <a:gd name="connsiteY82" fmla="*/ 0 h 554655"/>
                  <a:gd name="connsiteX83" fmla="*/ 940279 w 1680912"/>
                  <a:gd name="connsiteY83" fmla="*/ 0 h 554655"/>
                  <a:gd name="connsiteX84" fmla="*/ 942900 w 1680912"/>
                  <a:gd name="connsiteY84" fmla="*/ 0 h 554655"/>
                  <a:gd name="connsiteX85" fmla="*/ 952881 w 1680912"/>
                  <a:gd name="connsiteY85" fmla="*/ 0 h 554655"/>
                  <a:gd name="connsiteX86" fmla="*/ 957610 w 1680912"/>
                  <a:gd name="connsiteY86" fmla="*/ 0 h 554655"/>
                  <a:gd name="connsiteX87" fmla="*/ 971740 w 1680912"/>
                  <a:gd name="connsiteY87" fmla="*/ 0 h 554655"/>
                  <a:gd name="connsiteX88" fmla="*/ 974274 w 1680912"/>
                  <a:gd name="connsiteY88" fmla="*/ 0 h 554655"/>
                  <a:gd name="connsiteX89" fmla="*/ 976469 w 1680912"/>
                  <a:gd name="connsiteY89" fmla="*/ 0 h 554655"/>
                  <a:gd name="connsiteX90" fmla="*/ 989867 w 1680912"/>
                  <a:gd name="connsiteY90" fmla="*/ 0 h 554655"/>
                  <a:gd name="connsiteX91" fmla="*/ 991976 w 1680912"/>
                  <a:gd name="connsiteY91" fmla="*/ 0 h 554655"/>
                  <a:gd name="connsiteX92" fmla="*/ 991987 w 1680912"/>
                  <a:gd name="connsiteY92" fmla="*/ 0 h 554655"/>
                  <a:gd name="connsiteX93" fmla="*/ 994596 w 1680912"/>
                  <a:gd name="connsiteY93" fmla="*/ 0 h 554655"/>
                  <a:gd name="connsiteX94" fmla="*/ 994608 w 1680912"/>
                  <a:gd name="connsiteY94" fmla="*/ 0 h 554655"/>
                  <a:gd name="connsiteX95" fmla="*/ 996716 w 1680912"/>
                  <a:gd name="connsiteY95" fmla="*/ 0 h 554655"/>
                  <a:gd name="connsiteX96" fmla="*/ 1010114 w 1680912"/>
                  <a:gd name="connsiteY96" fmla="*/ 0 h 554655"/>
                  <a:gd name="connsiteX97" fmla="*/ 1014843 w 1680912"/>
                  <a:gd name="connsiteY97" fmla="*/ 0 h 554655"/>
                  <a:gd name="connsiteX98" fmla="*/ 1025970 w 1680912"/>
                  <a:gd name="connsiteY98" fmla="*/ 0 h 554655"/>
                  <a:gd name="connsiteX99" fmla="*/ 1043684 w 1680912"/>
                  <a:gd name="connsiteY99" fmla="*/ 0 h 554655"/>
                  <a:gd name="connsiteX100" fmla="*/ 1046217 w 1680912"/>
                  <a:gd name="connsiteY100" fmla="*/ 0 h 554655"/>
                  <a:gd name="connsiteX101" fmla="*/ 1046304 w 1680912"/>
                  <a:gd name="connsiteY101" fmla="*/ 0 h 554655"/>
                  <a:gd name="connsiteX102" fmla="*/ 1048413 w 1680912"/>
                  <a:gd name="connsiteY102" fmla="*/ 0 h 554655"/>
                  <a:gd name="connsiteX103" fmla="*/ 1061811 w 1680912"/>
                  <a:gd name="connsiteY103" fmla="*/ 0 h 554655"/>
                  <a:gd name="connsiteX104" fmla="*/ 1065077 w 1680912"/>
                  <a:gd name="connsiteY104" fmla="*/ 0 h 554655"/>
                  <a:gd name="connsiteX105" fmla="*/ 1066540 w 1680912"/>
                  <a:gd name="connsiteY105" fmla="*/ 0 h 554655"/>
                  <a:gd name="connsiteX106" fmla="*/ 1066551 w 1680912"/>
                  <a:gd name="connsiteY106" fmla="*/ 0 h 554655"/>
                  <a:gd name="connsiteX107" fmla="*/ 1083204 w 1680912"/>
                  <a:gd name="connsiteY107" fmla="*/ 0 h 554655"/>
                  <a:gd name="connsiteX108" fmla="*/ 1097914 w 1680912"/>
                  <a:gd name="connsiteY108" fmla="*/ 0 h 554655"/>
                  <a:gd name="connsiteX109" fmla="*/ 1116773 w 1680912"/>
                  <a:gd name="connsiteY109" fmla="*/ 0 h 554655"/>
                  <a:gd name="connsiteX110" fmla="*/ 1118248 w 1680912"/>
                  <a:gd name="connsiteY110" fmla="*/ 0 h 554655"/>
                  <a:gd name="connsiteX111" fmla="*/ 1134900 w 1680912"/>
                  <a:gd name="connsiteY111" fmla="*/ 0 h 554655"/>
                  <a:gd name="connsiteX112" fmla="*/ 1134912 w 1680912"/>
                  <a:gd name="connsiteY112" fmla="*/ 0 h 554655"/>
                  <a:gd name="connsiteX113" fmla="*/ 1137020 w 1680912"/>
                  <a:gd name="connsiteY113" fmla="*/ 0 h 554655"/>
                  <a:gd name="connsiteX114" fmla="*/ 1139641 w 1680912"/>
                  <a:gd name="connsiteY114" fmla="*/ 0 h 554655"/>
                  <a:gd name="connsiteX115" fmla="*/ 1155147 w 1680912"/>
                  <a:gd name="connsiteY115" fmla="*/ 0 h 554655"/>
                  <a:gd name="connsiteX116" fmla="*/ 1186608 w 1680912"/>
                  <a:gd name="connsiteY116" fmla="*/ 0 h 554655"/>
                  <a:gd name="connsiteX117" fmla="*/ 1188717 w 1680912"/>
                  <a:gd name="connsiteY117" fmla="*/ 0 h 554655"/>
                  <a:gd name="connsiteX118" fmla="*/ 1191337 w 1680912"/>
                  <a:gd name="connsiteY118" fmla="*/ 0 h 554655"/>
                  <a:gd name="connsiteX119" fmla="*/ 1206844 w 1680912"/>
                  <a:gd name="connsiteY119" fmla="*/ 0 h 554655"/>
                  <a:gd name="connsiteX120" fmla="*/ 1206855 w 1680912"/>
                  <a:gd name="connsiteY120" fmla="*/ 0 h 554655"/>
                  <a:gd name="connsiteX121" fmla="*/ 1211584 w 1680912"/>
                  <a:gd name="connsiteY121" fmla="*/ 0 h 554655"/>
                  <a:gd name="connsiteX122" fmla="*/ 1258552 w 1680912"/>
                  <a:gd name="connsiteY122" fmla="*/ 0 h 554655"/>
                  <a:gd name="connsiteX123" fmla="*/ 1263281 w 1680912"/>
                  <a:gd name="connsiteY123" fmla="*/ 0 h 554655"/>
                  <a:gd name="connsiteX124" fmla="*/ 1279945 w 1680912"/>
                  <a:gd name="connsiteY124" fmla="*/ 0 h 554655"/>
                  <a:gd name="connsiteX125" fmla="*/ 1331641 w 1680912"/>
                  <a:gd name="connsiteY125" fmla="*/ 0 h 554655"/>
                  <a:gd name="connsiteX126" fmla="*/ 1351888 w 1680912"/>
                  <a:gd name="connsiteY126" fmla="*/ 0 h 554655"/>
                  <a:gd name="connsiteX127" fmla="*/ 1403585 w 1680912"/>
                  <a:gd name="connsiteY127" fmla="*/ 0 h 554655"/>
                  <a:gd name="connsiteX128" fmla="*/ 1680912 w 1680912"/>
                  <a:gd name="connsiteY128" fmla="*/ 277328 h 554655"/>
                  <a:gd name="connsiteX129" fmla="*/ 1680911 w 1680912"/>
                  <a:gd name="connsiteY129" fmla="*/ 277328 h 554655"/>
                  <a:gd name="connsiteX130" fmla="*/ 1403584 w 1680912"/>
                  <a:gd name="connsiteY130" fmla="*/ 554655 h 554655"/>
                  <a:gd name="connsiteX131" fmla="*/ 1351890 w 1680912"/>
                  <a:gd name="connsiteY131" fmla="*/ 554655 h 554655"/>
                  <a:gd name="connsiteX132" fmla="*/ 1351887 w 1680912"/>
                  <a:gd name="connsiteY132" fmla="*/ 554655 h 554655"/>
                  <a:gd name="connsiteX133" fmla="*/ 1331641 w 1680912"/>
                  <a:gd name="connsiteY133" fmla="*/ 554655 h 554655"/>
                  <a:gd name="connsiteX134" fmla="*/ 1331640 w 1680912"/>
                  <a:gd name="connsiteY134" fmla="*/ 554655 h 554655"/>
                  <a:gd name="connsiteX135" fmla="*/ 1279947 w 1680912"/>
                  <a:gd name="connsiteY135" fmla="*/ 554655 h 554655"/>
                  <a:gd name="connsiteX136" fmla="*/ 1279944 w 1680912"/>
                  <a:gd name="connsiteY136" fmla="*/ 554655 h 554655"/>
                  <a:gd name="connsiteX137" fmla="*/ 1263280 w 1680912"/>
                  <a:gd name="connsiteY137" fmla="*/ 554655 h 554655"/>
                  <a:gd name="connsiteX138" fmla="*/ 1258552 w 1680912"/>
                  <a:gd name="connsiteY138" fmla="*/ 554655 h 554655"/>
                  <a:gd name="connsiteX139" fmla="*/ 1258551 w 1680912"/>
                  <a:gd name="connsiteY139" fmla="*/ 554655 h 554655"/>
                  <a:gd name="connsiteX140" fmla="*/ 1211586 w 1680912"/>
                  <a:gd name="connsiteY140" fmla="*/ 554655 h 554655"/>
                  <a:gd name="connsiteX141" fmla="*/ 1211583 w 1680912"/>
                  <a:gd name="connsiteY141" fmla="*/ 554655 h 554655"/>
                  <a:gd name="connsiteX142" fmla="*/ 1206857 w 1680912"/>
                  <a:gd name="connsiteY142" fmla="*/ 554655 h 554655"/>
                  <a:gd name="connsiteX143" fmla="*/ 1206854 w 1680912"/>
                  <a:gd name="connsiteY143" fmla="*/ 554655 h 554655"/>
                  <a:gd name="connsiteX144" fmla="*/ 1206843 w 1680912"/>
                  <a:gd name="connsiteY144" fmla="*/ 554655 h 554655"/>
                  <a:gd name="connsiteX145" fmla="*/ 1191337 w 1680912"/>
                  <a:gd name="connsiteY145" fmla="*/ 554655 h 554655"/>
                  <a:gd name="connsiteX146" fmla="*/ 1191336 w 1680912"/>
                  <a:gd name="connsiteY146" fmla="*/ 554655 h 554655"/>
                  <a:gd name="connsiteX147" fmla="*/ 1186608 w 1680912"/>
                  <a:gd name="connsiteY147" fmla="*/ 554655 h 554655"/>
                  <a:gd name="connsiteX148" fmla="*/ 1186607 w 1680912"/>
                  <a:gd name="connsiteY148" fmla="*/ 554655 h 554655"/>
                  <a:gd name="connsiteX149" fmla="*/ 1155149 w 1680912"/>
                  <a:gd name="connsiteY149" fmla="*/ 554655 h 554655"/>
                  <a:gd name="connsiteX150" fmla="*/ 1155146 w 1680912"/>
                  <a:gd name="connsiteY150" fmla="*/ 554655 h 554655"/>
                  <a:gd name="connsiteX151" fmla="*/ 1139643 w 1680912"/>
                  <a:gd name="connsiteY151" fmla="*/ 554655 h 554655"/>
                  <a:gd name="connsiteX152" fmla="*/ 1139640 w 1680912"/>
                  <a:gd name="connsiteY152" fmla="*/ 554655 h 554655"/>
                  <a:gd name="connsiteX153" fmla="*/ 1134913 w 1680912"/>
                  <a:gd name="connsiteY153" fmla="*/ 554655 h 554655"/>
                  <a:gd name="connsiteX154" fmla="*/ 1134911 w 1680912"/>
                  <a:gd name="connsiteY154" fmla="*/ 554655 h 554655"/>
                  <a:gd name="connsiteX155" fmla="*/ 1134900 w 1680912"/>
                  <a:gd name="connsiteY155" fmla="*/ 554655 h 554655"/>
                  <a:gd name="connsiteX156" fmla="*/ 1134899 w 1680912"/>
                  <a:gd name="connsiteY156" fmla="*/ 554655 h 554655"/>
                  <a:gd name="connsiteX157" fmla="*/ 1118248 w 1680912"/>
                  <a:gd name="connsiteY157" fmla="*/ 554655 h 554655"/>
                  <a:gd name="connsiteX158" fmla="*/ 1118247 w 1680912"/>
                  <a:gd name="connsiteY158" fmla="*/ 554655 h 554655"/>
                  <a:gd name="connsiteX159" fmla="*/ 1097913 w 1680912"/>
                  <a:gd name="connsiteY159" fmla="*/ 554655 h 554655"/>
                  <a:gd name="connsiteX160" fmla="*/ 1083206 w 1680912"/>
                  <a:gd name="connsiteY160" fmla="*/ 554655 h 554655"/>
                  <a:gd name="connsiteX161" fmla="*/ 1083203 w 1680912"/>
                  <a:gd name="connsiteY161" fmla="*/ 554655 h 554655"/>
                  <a:gd name="connsiteX162" fmla="*/ 1066553 w 1680912"/>
                  <a:gd name="connsiteY162" fmla="*/ 554655 h 554655"/>
                  <a:gd name="connsiteX163" fmla="*/ 1066550 w 1680912"/>
                  <a:gd name="connsiteY163" fmla="*/ 554655 h 554655"/>
                  <a:gd name="connsiteX164" fmla="*/ 1066539 w 1680912"/>
                  <a:gd name="connsiteY164" fmla="*/ 554655 h 554655"/>
                  <a:gd name="connsiteX165" fmla="*/ 1061811 w 1680912"/>
                  <a:gd name="connsiteY165" fmla="*/ 554655 h 554655"/>
                  <a:gd name="connsiteX166" fmla="*/ 1061810 w 1680912"/>
                  <a:gd name="connsiteY166" fmla="*/ 554655 h 554655"/>
                  <a:gd name="connsiteX167" fmla="*/ 1046304 w 1680912"/>
                  <a:gd name="connsiteY167" fmla="*/ 554655 h 554655"/>
                  <a:gd name="connsiteX168" fmla="*/ 1046303 w 1680912"/>
                  <a:gd name="connsiteY168" fmla="*/ 554655 h 554655"/>
                  <a:gd name="connsiteX169" fmla="*/ 1046219 w 1680912"/>
                  <a:gd name="connsiteY169" fmla="*/ 554655 h 554655"/>
                  <a:gd name="connsiteX170" fmla="*/ 1046216 w 1680912"/>
                  <a:gd name="connsiteY170" fmla="*/ 554655 h 554655"/>
                  <a:gd name="connsiteX171" fmla="*/ 1025970 w 1680912"/>
                  <a:gd name="connsiteY171" fmla="*/ 554655 h 554655"/>
                  <a:gd name="connsiteX172" fmla="*/ 1025969 w 1680912"/>
                  <a:gd name="connsiteY172" fmla="*/ 554655 h 554655"/>
                  <a:gd name="connsiteX173" fmla="*/ 1014845 w 1680912"/>
                  <a:gd name="connsiteY173" fmla="*/ 554655 h 554655"/>
                  <a:gd name="connsiteX174" fmla="*/ 1014842 w 1680912"/>
                  <a:gd name="connsiteY174" fmla="*/ 554655 h 554655"/>
                  <a:gd name="connsiteX175" fmla="*/ 1010116 w 1680912"/>
                  <a:gd name="connsiteY175" fmla="*/ 554655 h 554655"/>
                  <a:gd name="connsiteX176" fmla="*/ 1010113 w 1680912"/>
                  <a:gd name="connsiteY176" fmla="*/ 554655 h 554655"/>
                  <a:gd name="connsiteX177" fmla="*/ 994609 w 1680912"/>
                  <a:gd name="connsiteY177" fmla="*/ 554655 h 554655"/>
                  <a:gd name="connsiteX178" fmla="*/ 994607 w 1680912"/>
                  <a:gd name="connsiteY178" fmla="*/ 554655 h 554655"/>
                  <a:gd name="connsiteX179" fmla="*/ 994596 w 1680912"/>
                  <a:gd name="connsiteY179" fmla="*/ 554655 h 554655"/>
                  <a:gd name="connsiteX180" fmla="*/ 994595 w 1680912"/>
                  <a:gd name="connsiteY180" fmla="*/ 554655 h 554655"/>
                  <a:gd name="connsiteX181" fmla="*/ 989867 w 1680912"/>
                  <a:gd name="connsiteY181" fmla="*/ 554655 h 554655"/>
                  <a:gd name="connsiteX182" fmla="*/ 989866 w 1680912"/>
                  <a:gd name="connsiteY182" fmla="*/ 554655 h 554655"/>
                  <a:gd name="connsiteX183" fmla="*/ 974276 w 1680912"/>
                  <a:gd name="connsiteY183" fmla="*/ 554655 h 554655"/>
                  <a:gd name="connsiteX184" fmla="*/ 974273 w 1680912"/>
                  <a:gd name="connsiteY184" fmla="*/ 554655 h 554655"/>
                  <a:gd name="connsiteX185" fmla="*/ 957609 w 1680912"/>
                  <a:gd name="connsiteY185" fmla="*/ 554655 h 554655"/>
                  <a:gd name="connsiteX186" fmla="*/ 952881 w 1680912"/>
                  <a:gd name="connsiteY186" fmla="*/ 554655 h 554655"/>
                  <a:gd name="connsiteX187" fmla="*/ 952880 w 1680912"/>
                  <a:gd name="connsiteY187" fmla="*/ 554655 h 554655"/>
                  <a:gd name="connsiteX188" fmla="*/ 942902 w 1680912"/>
                  <a:gd name="connsiteY188" fmla="*/ 554655 h 554655"/>
                  <a:gd name="connsiteX189" fmla="*/ 942899 w 1680912"/>
                  <a:gd name="connsiteY189" fmla="*/ 554655 h 554655"/>
                  <a:gd name="connsiteX190" fmla="*/ 938172 w 1680912"/>
                  <a:gd name="connsiteY190" fmla="*/ 554655 h 554655"/>
                  <a:gd name="connsiteX191" fmla="*/ 938170 w 1680912"/>
                  <a:gd name="connsiteY191" fmla="*/ 554655 h 554655"/>
                  <a:gd name="connsiteX192" fmla="*/ 921507 w 1680912"/>
                  <a:gd name="connsiteY192" fmla="*/ 554655 h 554655"/>
                  <a:gd name="connsiteX193" fmla="*/ 921506 w 1680912"/>
                  <a:gd name="connsiteY193" fmla="*/ 554655 h 554655"/>
                  <a:gd name="connsiteX194" fmla="*/ 905915 w 1680912"/>
                  <a:gd name="connsiteY194" fmla="*/ 554655 h 554655"/>
                  <a:gd name="connsiteX195" fmla="*/ 905912 w 1680912"/>
                  <a:gd name="connsiteY195" fmla="*/ 554655 h 554655"/>
                  <a:gd name="connsiteX196" fmla="*/ 901186 w 1680912"/>
                  <a:gd name="connsiteY196" fmla="*/ 554655 h 554655"/>
                  <a:gd name="connsiteX197" fmla="*/ 901183 w 1680912"/>
                  <a:gd name="connsiteY197" fmla="*/ 554655 h 554655"/>
                  <a:gd name="connsiteX198" fmla="*/ 901172 w 1680912"/>
                  <a:gd name="connsiteY198" fmla="*/ 554655 h 554655"/>
                  <a:gd name="connsiteX199" fmla="*/ 885666 w 1680912"/>
                  <a:gd name="connsiteY199" fmla="*/ 554655 h 554655"/>
                  <a:gd name="connsiteX200" fmla="*/ 885665 w 1680912"/>
                  <a:gd name="connsiteY200" fmla="*/ 554655 h 554655"/>
                  <a:gd name="connsiteX201" fmla="*/ 880937 w 1680912"/>
                  <a:gd name="connsiteY201" fmla="*/ 554655 h 554655"/>
                  <a:gd name="connsiteX202" fmla="*/ 880936 w 1680912"/>
                  <a:gd name="connsiteY202" fmla="*/ 554655 h 554655"/>
                  <a:gd name="connsiteX203" fmla="*/ 869812 w 1680912"/>
                  <a:gd name="connsiteY203" fmla="*/ 554655 h 554655"/>
                  <a:gd name="connsiteX204" fmla="*/ 869809 w 1680912"/>
                  <a:gd name="connsiteY204" fmla="*/ 554655 h 554655"/>
                  <a:gd name="connsiteX205" fmla="*/ 849563 w 1680912"/>
                  <a:gd name="connsiteY205" fmla="*/ 554655 h 554655"/>
                  <a:gd name="connsiteX206" fmla="*/ 849562 w 1680912"/>
                  <a:gd name="connsiteY206" fmla="*/ 554655 h 554655"/>
                  <a:gd name="connsiteX207" fmla="*/ 849478 w 1680912"/>
                  <a:gd name="connsiteY207" fmla="*/ 554655 h 554655"/>
                  <a:gd name="connsiteX208" fmla="*/ 849475 w 1680912"/>
                  <a:gd name="connsiteY208" fmla="*/ 554655 h 554655"/>
                  <a:gd name="connsiteX209" fmla="*/ 833972 w 1680912"/>
                  <a:gd name="connsiteY209" fmla="*/ 554655 h 554655"/>
                  <a:gd name="connsiteX210" fmla="*/ 833969 w 1680912"/>
                  <a:gd name="connsiteY210" fmla="*/ 554655 h 554655"/>
                  <a:gd name="connsiteX211" fmla="*/ 829242 w 1680912"/>
                  <a:gd name="connsiteY211" fmla="*/ 554655 h 554655"/>
                  <a:gd name="connsiteX212" fmla="*/ 829240 w 1680912"/>
                  <a:gd name="connsiteY212" fmla="*/ 554655 h 554655"/>
                  <a:gd name="connsiteX213" fmla="*/ 829229 w 1680912"/>
                  <a:gd name="connsiteY213" fmla="*/ 554655 h 554655"/>
                  <a:gd name="connsiteX214" fmla="*/ 829228 w 1680912"/>
                  <a:gd name="connsiteY214" fmla="*/ 554655 h 554655"/>
                  <a:gd name="connsiteX215" fmla="*/ 812577 w 1680912"/>
                  <a:gd name="connsiteY215" fmla="*/ 554655 h 554655"/>
                  <a:gd name="connsiteX216" fmla="*/ 812576 w 1680912"/>
                  <a:gd name="connsiteY216" fmla="*/ 554655 h 554655"/>
                  <a:gd name="connsiteX217" fmla="*/ 797868 w 1680912"/>
                  <a:gd name="connsiteY217" fmla="*/ 554655 h 554655"/>
                  <a:gd name="connsiteX218" fmla="*/ 797866 w 1680912"/>
                  <a:gd name="connsiteY218" fmla="*/ 554655 h 554655"/>
                  <a:gd name="connsiteX219" fmla="*/ 777535 w 1680912"/>
                  <a:gd name="connsiteY219" fmla="*/ 554655 h 554655"/>
                  <a:gd name="connsiteX220" fmla="*/ 777532 w 1680912"/>
                  <a:gd name="connsiteY220" fmla="*/ 554655 h 554655"/>
                  <a:gd name="connsiteX221" fmla="*/ 760882 w 1680912"/>
                  <a:gd name="connsiteY221" fmla="*/ 554655 h 554655"/>
                  <a:gd name="connsiteX222" fmla="*/ 760879 w 1680912"/>
                  <a:gd name="connsiteY222" fmla="*/ 554655 h 554655"/>
                  <a:gd name="connsiteX223" fmla="*/ 760868 w 1680912"/>
                  <a:gd name="connsiteY223" fmla="*/ 554655 h 554655"/>
                  <a:gd name="connsiteX224" fmla="*/ 756140 w 1680912"/>
                  <a:gd name="connsiteY224" fmla="*/ 554655 h 554655"/>
                  <a:gd name="connsiteX225" fmla="*/ 756139 w 1680912"/>
                  <a:gd name="connsiteY225" fmla="*/ 554655 h 554655"/>
                  <a:gd name="connsiteX226" fmla="*/ 740633 w 1680912"/>
                  <a:gd name="connsiteY226" fmla="*/ 554655 h 554655"/>
                  <a:gd name="connsiteX227" fmla="*/ 740632 w 1680912"/>
                  <a:gd name="connsiteY227" fmla="*/ 554655 h 554655"/>
                  <a:gd name="connsiteX228" fmla="*/ 709174 w 1680912"/>
                  <a:gd name="connsiteY228" fmla="*/ 554655 h 554655"/>
                  <a:gd name="connsiteX229" fmla="*/ 709171 w 1680912"/>
                  <a:gd name="connsiteY229" fmla="*/ 554655 h 554655"/>
                  <a:gd name="connsiteX230" fmla="*/ 704445 w 1680912"/>
                  <a:gd name="connsiteY230" fmla="*/ 554655 h 554655"/>
                  <a:gd name="connsiteX231" fmla="*/ 704442 w 1680912"/>
                  <a:gd name="connsiteY231" fmla="*/ 554655 h 554655"/>
                  <a:gd name="connsiteX232" fmla="*/ 688938 w 1680912"/>
                  <a:gd name="connsiteY232" fmla="*/ 554655 h 554655"/>
                  <a:gd name="connsiteX233" fmla="*/ 688936 w 1680912"/>
                  <a:gd name="connsiteY233" fmla="*/ 554655 h 554655"/>
                  <a:gd name="connsiteX234" fmla="*/ 688925 w 1680912"/>
                  <a:gd name="connsiteY234" fmla="*/ 554655 h 554655"/>
                  <a:gd name="connsiteX235" fmla="*/ 688924 w 1680912"/>
                  <a:gd name="connsiteY235" fmla="*/ 554655 h 554655"/>
                  <a:gd name="connsiteX236" fmla="*/ 684196 w 1680912"/>
                  <a:gd name="connsiteY236" fmla="*/ 554655 h 554655"/>
                  <a:gd name="connsiteX237" fmla="*/ 684195 w 1680912"/>
                  <a:gd name="connsiteY237" fmla="*/ 554655 h 554655"/>
                  <a:gd name="connsiteX238" fmla="*/ 637231 w 1680912"/>
                  <a:gd name="connsiteY238" fmla="*/ 554655 h 554655"/>
                  <a:gd name="connsiteX239" fmla="*/ 637228 w 1680912"/>
                  <a:gd name="connsiteY239" fmla="*/ 554655 h 554655"/>
                  <a:gd name="connsiteX240" fmla="*/ 632501 w 1680912"/>
                  <a:gd name="connsiteY240" fmla="*/ 554655 h 554655"/>
                  <a:gd name="connsiteX241" fmla="*/ 632499 w 1680912"/>
                  <a:gd name="connsiteY241" fmla="*/ 554655 h 554655"/>
                  <a:gd name="connsiteX242" fmla="*/ 615836 w 1680912"/>
                  <a:gd name="connsiteY242" fmla="*/ 554655 h 554655"/>
                  <a:gd name="connsiteX243" fmla="*/ 615835 w 1680912"/>
                  <a:gd name="connsiteY243" fmla="*/ 554655 h 554655"/>
                  <a:gd name="connsiteX244" fmla="*/ 564141 w 1680912"/>
                  <a:gd name="connsiteY244" fmla="*/ 554655 h 554655"/>
                  <a:gd name="connsiteX245" fmla="*/ 564138 w 1680912"/>
                  <a:gd name="connsiteY245" fmla="*/ 554655 h 554655"/>
                  <a:gd name="connsiteX246" fmla="*/ 543892 w 1680912"/>
                  <a:gd name="connsiteY246" fmla="*/ 554655 h 554655"/>
                  <a:gd name="connsiteX247" fmla="*/ 543891 w 1680912"/>
                  <a:gd name="connsiteY247" fmla="*/ 554655 h 554655"/>
                  <a:gd name="connsiteX248" fmla="*/ 492197 w 1680912"/>
                  <a:gd name="connsiteY248" fmla="*/ 554655 h 554655"/>
                  <a:gd name="connsiteX249" fmla="*/ 492195 w 1680912"/>
                  <a:gd name="connsiteY249" fmla="*/ 554655 h 554655"/>
                  <a:gd name="connsiteX250" fmla="*/ 277328 w 1680912"/>
                  <a:gd name="connsiteY250" fmla="*/ 554654 h 554655"/>
                  <a:gd name="connsiteX251" fmla="*/ 5634 w 1680912"/>
                  <a:gd name="connsiteY251" fmla="*/ 333218 h 554655"/>
                  <a:gd name="connsiteX252" fmla="*/ 0 w 1680912"/>
                  <a:gd name="connsiteY252" fmla="*/ 277328 h 554655"/>
                  <a:gd name="connsiteX253" fmla="*/ 5634 w 1680912"/>
                  <a:gd name="connsiteY253" fmla="*/ 221437 h 554655"/>
                  <a:gd name="connsiteX254" fmla="*/ 277328 w 1680912"/>
                  <a:gd name="connsiteY254" fmla="*/ 0 h 554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  <a:cxn ang="0">
                    <a:pos x="connsiteX238" y="connsiteY238"/>
                  </a:cxn>
                  <a:cxn ang="0">
                    <a:pos x="connsiteX239" y="connsiteY239"/>
                  </a:cxn>
                  <a:cxn ang="0">
                    <a:pos x="connsiteX240" y="connsiteY240"/>
                  </a:cxn>
                  <a:cxn ang="0">
                    <a:pos x="connsiteX241" y="connsiteY241"/>
                  </a:cxn>
                  <a:cxn ang="0">
                    <a:pos x="connsiteX242" y="connsiteY242"/>
                  </a:cxn>
                  <a:cxn ang="0">
                    <a:pos x="connsiteX243" y="connsiteY243"/>
                  </a:cxn>
                  <a:cxn ang="0">
                    <a:pos x="connsiteX244" y="connsiteY244"/>
                  </a:cxn>
                  <a:cxn ang="0">
                    <a:pos x="connsiteX245" y="connsiteY245"/>
                  </a:cxn>
                  <a:cxn ang="0">
                    <a:pos x="connsiteX246" y="connsiteY246"/>
                  </a:cxn>
                  <a:cxn ang="0">
                    <a:pos x="connsiteX247" y="connsiteY247"/>
                  </a:cxn>
                  <a:cxn ang="0">
                    <a:pos x="connsiteX248" y="connsiteY248"/>
                  </a:cxn>
                  <a:cxn ang="0">
                    <a:pos x="connsiteX249" y="connsiteY249"/>
                  </a:cxn>
                  <a:cxn ang="0">
                    <a:pos x="connsiteX250" y="connsiteY250"/>
                  </a:cxn>
                  <a:cxn ang="0">
                    <a:pos x="connsiteX251" y="connsiteY251"/>
                  </a:cxn>
                  <a:cxn ang="0">
                    <a:pos x="connsiteX252" y="connsiteY252"/>
                  </a:cxn>
                  <a:cxn ang="0">
                    <a:pos x="connsiteX253" y="connsiteY253"/>
                  </a:cxn>
                  <a:cxn ang="0">
                    <a:pos x="connsiteX254" y="connsiteY254"/>
                  </a:cxn>
                </a:cxnLst>
                <a:rect l="l" t="t" r="r" b="b"/>
                <a:pathLst>
                  <a:path w="1680912" h="554655">
                    <a:moveTo>
                      <a:pt x="277328" y="0"/>
                    </a:moveTo>
                    <a:lnTo>
                      <a:pt x="329024" y="0"/>
                    </a:lnTo>
                    <a:lnTo>
                      <a:pt x="349271" y="0"/>
                    </a:lnTo>
                    <a:lnTo>
                      <a:pt x="400968" y="0"/>
                    </a:lnTo>
                    <a:lnTo>
                      <a:pt x="417632" y="0"/>
                    </a:lnTo>
                    <a:lnTo>
                      <a:pt x="422361" y="0"/>
                    </a:lnTo>
                    <a:lnTo>
                      <a:pt x="469328" y="0"/>
                    </a:lnTo>
                    <a:lnTo>
                      <a:pt x="474057" y="0"/>
                    </a:lnTo>
                    <a:lnTo>
                      <a:pt x="474069" y="0"/>
                    </a:lnTo>
                    <a:lnTo>
                      <a:pt x="489575" y="0"/>
                    </a:lnTo>
                    <a:lnTo>
                      <a:pt x="492196" y="0"/>
                    </a:lnTo>
                    <a:lnTo>
                      <a:pt x="494304" y="0"/>
                    </a:lnTo>
                    <a:lnTo>
                      <a:pt x="525765" y="0"/>
                    </a:lnTo>
                    <a:lnTo>
                      <a:pt x="541272" y="0"/>
                    </a:lnTo>
                    <a:lnTo>
                      <a:pt x="543892" y="0"/>
                    </a:lnTo>
                    <a:lnTo>
                      <a:pt x="546001" y="0"/>
                    </a:lnTo>
                    <a:lnTo>
                      <a:pt x="546012" y="0"/>
                    </a:lnTo>
                    <a:lnTo>
                      <a:pt x="562665" y="0"/>
                    </a:lnTo>
                    <a:lnTo>
                      <a:pt x="564139" y="0"/>
                    </a:lnTo>
                    <a:lnTo>
                      <a:pt x="582999" y="0"/>
                    </a:lnTo>
                    <a:lnTo>
                      <a:pt x="597709" y="0"/>
                    </a:lnTo>
                    <a:lnTo>
                      <a:pt x="614361" y="0"/>
                    </a:lnTo>
                    <a:lnTo>
                      <a:pt x="614373" y="0"/>
                    </a:lnTo>
                    <a:lnTo>
                      <a:pt x="615836" y="0"/>
                    </a:lnTo>
                    <a:lnTo>
                      <a:pt x="619102" y="0"/>
                    </a:lnTo>
                    <a:lnTo>
                      <a:pt x="632500" y="0"/>
                    </a:lnTo>
                    <a:lnTo>
                      <a:pt x="634608" y="0"/>
                    </a:lnTo>
                    <a:lnTo>
                      <a:pt x="634695" y="0"/>
                    </a:lnTo>
                    <a:lnTo>
                      <a:pt x="637229" y="0"/>
                    </a:lnTo>
                    <a:lnTo>
                      <a:pt x="654942" y="0"/>
                    </a:lnTo>
                    <a:lnTo>
                      <a:pt x="666069" y="0"/>
                    </a:lnTo>
                    <a:lnTo>
                      <a:pt x="670798" y="0"/>
                    </a:lnTo>
                    <a:lnTo>
                      <a:pt x="684196" y="0"/>
                    </a:lnTo>
                    <a:lnTo>
                      <a:pt x="686305" y="0"/>
                    </a:lnTo>
                    <a:lnTo>
                      <a:pt x="686316" y="0"/>
                    </a:lnTo>
                    <a:lnTo>
                      <a:pt x="688925" y="0"/>
                    </a:lnTo>
                    <a:lnTo>
                      <a:pt x="688937" y="0"/>
                    </a:lnTo>
                    <a:lnTo>
                      <a:pt x="691045" y="0"/>
                    </a:lnTo>
                    <a:lnTo>
                      <a:pt x="704443" y="0"/>
                    </a:lnTo>
                    <a:lnTo>
                      <a:pt x="706639" y="0"/>
                    </a:lnTo>
                    <a:lnTo>
                      <a:pt x="709172" y="0"/>
                    </a:lnTo>
                    <a:lnTo>
                      <a:pt x="723303" y="0"/>
                    </a:lnTo>
                    <a:lnTo>
                      <a:pt x="728032" y="0"/>
                    </a:lnTo>
                    <a:lnTo>
                      <a:pt x="738013" y="0"/>
                    </a:lnTo>
                    <a:lnTo>
                      <a:pt x="740633" y="0"/>
                    </a:lnTo>
                    <a:lnTo>
                      <a:pt x="742742" y="0"/>
                    </a:lnTo>
                    <a:lnTo>
                      <a:pt x="756140" y="0"/>
                    </a:lnTo>
                    <a:lnTo>
                      <a:pt x="759406" y="0"/>
                    </a:lnTo>
                    <a:lnTo>
                      <a:pt x="760869" y="0"/>
                    </a:lnTo>
                    <a:lnTo>
                      <a:pt x="760880" y="0"/>
                    </a:lnTo>
                    <a:lnTo>
                      <a:pt x="774999" y="0"/>
                    </a:lnTo>
                    <a:lnTo>
                      <a:pt x="777533" y="0"/>
                    </a:lnTo>
                    <a:lnTo>
                      <a:pt x="779728" y="0"/>
                    </a:lnTo>
                    <a:lnTo>
                      <a:pt x="779740" y="0"/>
                    </a:lnTo>
                    <a:lnTo>
                      <a:pt x="795246" y="0"/>
                    </a:lnTo>
                    <a:lnTo>
                      <a:pt x="797867" y="0"/>
                    </a:lnTo>
                    <a:lnTo>
                      <a:pt x="799975" y="0"/>
                    </a:lnTo>
                    <a:lnTo>
                      <a:pt x="811102" y="0"/>
                    </a:lnTo>
                    <a:lnTo>
                      <a:pt x="812577" y="0"/>
                    </a:lnTo>
                    <a:lnTo>
                      <a:pt x="829229" y="0"/>
                    </a:lnTo>
                    <a:lnTo>
                      <a:pt x="829241" y="0"/>
                    </a:lnTo>
                    <a:lnTo>
                      <a:pt x="831349" y="0"/>
                    </a:lnTo>
                    <a:lnTo>
                      <a:pt x="831436" y="0"/>
                    </a:lnTo>
                    <a:lnTo>
                      <a:pt x="833970" y="0"/>
                    </a:lnTo>
                    <a:lnTo>
                      <a:pt x="846943" y="0"/>
                    </a:lnTo>
                    <a:lnTo>
                      <a:pt x="849476" y="0"/>
                    </a:lnTo>
                    <a:lnTo>
                      <a:pt x="849563" y="0"/>
                    </a:lnTo>
                    <a:lnTo>
                      <a:pt x="851672" y="0"/>
                    </a:lnTo>
                    <a:lnTo>
                      <a:pt x="851683" y="0"/>
                    </a:lnTo>
                    <a:lnTo>
                      <a:pt x="868336" y="0"/>
                    </a:lnTo>
                    <a:lnTo>
                      <a:pt x="869810" y="0"/>
                    </a:lnTo>
                    <a:lnTo>
                      <a:pt x="880937" y="0"/>
                    </a:lnTo>
                    <a:lnTo>
                      <a:pt x="883046" y="0"/>
                    </a:lnTo>
                    <a:lnTo>
                      <a:pt x="885666" y="0"/>
                    </a:lnTo>
                    <a:lnTo>
                      <a:pt x="901173" y="0"/>
                    </a:lnTo>
                    <a:lnTo>
                      <a:pt x="901184" y="0"/>
                    </a:lnTo>
                    <a:lnTo>
                      <a:pt x="903380" y="0"/>
                    </a:lnTo>
                    <a:lnTo>
                      <a:pt x="905913" y="0"/>
                    </a:lnTo>
                    <a:lnTo>
                      <a:pt x="920032" y="0"/>
                    </a:lnTo>
                    <a:lnTo>
                      <a:pt x="920044" y="0"/>
                    </a:lnTo>
                    <a:lnTo>
                      <a:pt x="921507" y="0"/>
                    </a:lnTo>
                    <a:lnTo>
                      <a:pt x="924773" y="0"/>
                    </a:lnTo>
                    <a:lnTo>
                      <a:pt x="938171" y="0"/>
                    </a:lnTo>
                    <a:lnTo>
                      <a:pt x="940279" y="0"/>
                    </a:lnTo>
                    <a:lnTo>
                      <a:pt x="942900" y="0"/>
                    </a:lnTo>
                    <a:lnTo>
                      <a:pt x="952881" y="0"/>
                    </a:lnTo>
                    <a:lnTo>
                      <a:pt x="957610" y="0"/>
                    </a:lnTo>
                    <a:lnTo>
                      <a:pt x="971740" y="0"/>
                    </a:lnTo>
                    <a:lnTo>
                      <a:pt x="974274" y="0"/>
                    </a:lnTo>
                    <a:lnTo>
                      <a:pt x="976469" y="0"/>
                    </a:lnTo>
                    <a:lnTo>
                      <a:pt x="989867" y="0"/>
                    </a:lnTo>
                    <a:lnTo>
                      <a:pt x="991976" y="0"/>
                    </a:lnTo>
                    <a:lnTo>
                      <a:pt x="991987" y="0"/>
                    </a:lnTo>
                    <a:lnTo>
                      <a:pt x="994596" y="0"/>
                    </a:lnTo>
                    <a:lnTo>
                      <a:pt x="994608" y="0"/>
                    </a:lnTo>
                    <a:lnTo>
                      <a:pt x="996716" y="0"/>
                    </a:lnTo>
                    <a:lnTo>
                      <a:pt x="1010114" y="0"/>
                    </a:lnTo>
                    <a:lnTo>
                      <a:pt x="1014843" y="0"/>
                    </a:lnTo>
                    <a:lnTo>
                      <a:pt x="1025970" y="0"/>
                    </a:lnTo>
                    <a:lnTo>
                      <a:pt x="1043684" y="0"/>
                    </a:lnTo>
                    <a:lnTo>
                      <a:pt x="1046217" y="0"/>
                    </a:lnTo>
                    <a:lnTo>
                      <a:pt x="1046304" y="0"/>
                    </a:lnTo>
                    <a:lnTo>
                      <a:pt x="1048413" y="0"/>
                    </a:lnTo>
                    <a:lnTo>
                      <a:pt x="1061811" y="0"/>
                    </a:lnTo>
                    <a:lnTo>
                      <a:pt x="1065077" y="0"/>
                    </a:lnTo>
                    <a:lnTo>
                      <a:pt x="1066540" y="0"/>
                    </a:lnTo>
                    <a:lnTo>
                      <a:pt x="1066551" y="0"/>
                    </a:lnTo>
                    <a:lnTo>
                      <a:pt x="1083204" y="0"/>
                    </a:lnTo>
                    <a:lnTo>
                      <a:pt x="1097914" y="0"/>
                    </a:lnTo>
                    <a:lnTo>
                      <a:pt x="1116773" y="0"/>
                    </a:lnTo>
                    <a:lnTo>
                      <a:pt x="1118248" y="0"/>
                    </a:lnTo>
                    <a:lnTo>
                      <a:pt x="1134900" y="0"/>
                    </a:lnTo>
                    <a:lnTo>
                      <a:pt x="1134912" y="0"/>
                    </a:lnTo>
                    <a:lnTo>
                      <a:pt x="1137020" y="0"/>
                    </a:lnTo>
                    <a:lnTo>
                      <a:pt x="1139641" y="0"/>
                    </a:lnTo>
                    <a:lnTo>
                      <a:pt x="1155147" y="0"/>
                    </a:lnTo>
                    <a:lnTo>
                      <a:pt x="1186608" y="0"/>
                    </a:lnTo>
                    <a:lnTo>
                      <a:pt x="1188717" y="0"/>
                    </a:lnTo>
                    <a:lnTo>
                      <a:pt x="1191337" y="0"/>
                    </a:lnTo>
                    <a:lnTo>
                      <a:pt x="1206844" y="0"/>
                    </a:lnTo>
                    <a:lnTo>
                      <a:pt x="1206855" y="0"/>
                    </a:lnTo>
                    <a:lnTo>
                      <a:pt x="1211584" y="0"/>
                    </a:lnTo>
                    <a:lnTo>
                      <a:pt x="1258552" y="0"/>
                    </a:lnTo>
                    <a:lnTo>
                      <a:pt x="1263281" y="0"/>
                    </a:lnTo>
                    <a:lnTo>
                      <a:pt x="1279945" y="0"/>
                    </a:lnTo>
                    <a:lnTo>
                      <a:pt x="1331641" y="0"/>
                    </a:lnTo>
                    <a:lnTo>
                      <a:pt x="1351888" y="0"/>
                    </a:lnTo>
                    <a:lnTo>
                      <a:pt x="1403585" y="0"/>
                    </a:lnTo>
                    <a:cubicBezTo>
                      <a:pt x="1556749" y="0"/>
                      <a:pt x="1680912" y="124164"/>
                      <a:pt x="1680912" y="277328"/>
                    </a:cubicBezTo>
                    <a:lnTo>
                      <a:pt x="1680911" y="277328"/>
                    </a:lnTo>
                    <a:cubicBezTo>
                      <a:pt x="1680911" y="430492"/>
                      <a:pt x="1556748" y="554655"/>
                      <a:pt x="1403584" y="554655"/>
                    </a:cubicBezTo>
                    <a:lnTo>
                      <a:pt x="1351890" y="554655"/>
                    </a:lnTo>
                    <a:lnTo>
                      <a:pt x="1351887" y="554655"/>
                    </a:lnTo>
                    <a:lnTo>
                      <a:pt x="1331641" y="554655"/>
                    </a:lnTo>
                    <a:lnTo>
                      <a:pt x="1331640" y="554655"/>
                    </a:lnTo>
                    <a:lnTo>
                      <a:pt x="1279947" y="554655"/>
                    </a:lnTo>
                    <a:lnTo>
                      <a:pt x="1279944" y="554655"/>
                    </a:lnTo>
                    <a:lnTo>
                      <a:pt x="1263280" y="554655"/>
                    </a:lnTo>
                    <a:lnTo>
                      <a:pt x="1258552" y="554655"/>
                    </a:lnTo>
                    <a:lnTo>
                      <a:pt x="1258551" y="554655"/>
                    </a:lnTo>
                    <a:lnTo>
                      <a:pt x="1211586" y="554655"/>
                    </a:lnTo>
                    <a:lnTo>
                      <a:pt x="1211583" y="554655"/>
                    </a:lnTo>
                    <a:lnTo>
                      <a:pt x="1206857" y="554655"/>
                    </a:lnTo>
                    <a:lnTo>
                      <a:pt x="1206854" y="554655"/>
                    </a:lnTo>
                    <a:lnTo>
                      <a:pt x="1206843" y="554655"/>
                    </a:lnTo>
                    <a:lnTo>
                      <a:pt x="1191337" y="554655"/>
                    </a:lnTo>
                    <a:lnTo>
                      <a:pt x="1191336" y="554655"/>
                    </a:lnTo>
                    <a:lnTo>
                      <a:pt x="1186608" y="554655"/>
                    </a:lnTo>
                    <a:lnTo>
                      <a:pt x="1186607" y="554655"/>
                    </a:lnTo>
                    <a:lnTo>
                      <a:pt x="1155149" y="554655"/>
                    </a:lnTo>
                    <a:lnTo>
                      <a:pt x="1155146" y="554655"/>
                    </a:lnTo>
                    <a:lnTo>
                      <a:pt x="1139643" y="554655"/>
                    </a:lnTo>
                    <a:lnTo>
                      <a:pt x="1139640" y="554655"/>
                    </a:lnTo>
                    <a:lnTo>
                      <a:pt x="1134913" y="554655"/>
                    </a:lnTo>
                    <a:lnTo>
                      <a:pt x="1134911" y="554655"/>
                    </a:lnTo>
                    <a:lnTo>
                      <a:pt x="1134900" y="554655"/>
                    </a:lnTo>
                    <a:lnTo>
                      <a:pt x="1134899" y="554655"/>
                    </a:lnTo>
                    <a:lnTo>
                      <a:pt x="1118248" y="554655"/>
                    </a:lnTo>
                    <a:lnTo>
                      <a:pt x="1118247" y="554655"/>
                    </a:lnTo>
                    <a:lnTo>
                      <a:pt x="1097913" y="554655"/>
                    </a:lnTo>
                    <a:lnTo>
                      <a:pt x="1083206" y="554655"/>
                    </a:lnTo>
                    <a:lnTo>
                      <a:pt x="1083203" y="554655"/>
                    </a:lnTo>
                    <a:lnTo>
                      <a:pt x="1066553" y="554655"/>
                    </a:lnTo>
                    <a:lnTo>
                      <a:pt x="1066550" y="554655"/>
                    </a:lnTo>
                    <a:lnTo>
                      <a:pt x="1066539" y="554655"/>
                    </a:lnTo>
                    <a:lnTo>
                      <a:pt x="1061811" y="554655"/>
                    </a:lnTo>
                    <a:lnTo>
                      <a:pt x="1061810" y="554655"/>
                    </a:lnTo>
                    <a:lnTo>
                      <a:pt x="1046304" y="554655"/>
                    </a:lnTo>
                    <a:lnTo>
                      <a:pt x="1046303" y="554655"/>
                    </a:lnTo>
                    <a:lnTo>
                      <a:pt x="1046219" y="554655"/>
                    </a:lnTo>
                    <a:lnTo>
                      <a:pt x="1046216" y="554655"/>
                    </a:lnTo>
                    <a:lnTo>
                      <a:pt x="1025970" y="554655"/>
                    </a:lnTo>
                    <a:lnTo>
                      <a:pt x="1025969" y="554655"/>
                    </a:lnTo>
                    <a:lnTo>
                      <a:pt x="1014845" y="554655"/>
                    </a:lnTo>
                    <a:lnTo>
                      <a:pt x="1014842" y="554655"/>
                    </a:lnTo>
                    <a:lnTo>
                      <a:pt x="1010116" y="554655"/>
                    </a:lnTo>
                    <a:lnTo>
                      <a:pt x="1010113" y="554655"/>
                    </a:lnTo>
                    <a:lnTo>
                      <a:pt x="994609" y="554655"/>
                    </a:lnTo>
                    <a:lnTo>
                      <a:pt x="994607" y="554655"/>
                    </a:lnTo>
                    <a:lnTo>
                      <a:pt x="994596" y="554655"/>
                    </a:lnTo>
                    <a:lnTo>
                      <a:pt x="994595" y="554655"/>
                    </a:lnTo>
                    <a:lnTo>
                      <a:pt x="989867" y="554655"/>
                    </a:lnTo>
                    <a:lnTo>
                      <a:pt x="989866" y="554655"/>
                    </a:lnTo>
                    <a:lnTo>
                      <a:pt x="974276" y="554655"/>
                    </a:lnTo>
                    <a:lnTo>
                      <a:pt x="974273" y="554655"/>
                    </a:lnTo>
                    <a:lnTo>
                      <a:pt x="957609" y="554655"/>
                    </a:lnTo>
                    <a:lnTo>
                      <a:pt x="952881" y="554655"/>
                    </a:lnTo>
                    <a:lnTo>
                      <a:pt x="952880" y="554655"/>
                    </a:lnTo>
                    <a:lnTo>
                      <a:pt x="942902" y="554655"/>
                    </a:lnTo>
                    <a:lnTo>
                      <a:pt x="942899" y="554655"/>
                    </a:lnTo>
                    <a:lnTo>
                      <a:pt x="938172" y="554655"/>
                    </a:lnTo>
                    <a:lnTo>
                      <a:pt x="938170" y="554655"/>
                    </a:lnTo>
                    <a:lnTo>
                      <a:pt x="921507" y="554655"/>
                    </a:lnTo>
                    <a:lnTo>
                      <a:pt x="921506" y="554655"/>
                    </a:lnTo>
                    <a:lnTo>
                      <a:pt x="905915" y="554655"/>
                    </a:lnTo>
                    <a:lnTo>
                      <a:pt x="905912" y="554655"/>
                    </a:lnTo>
                    <a:lnTo>
                      <a:pt x="901186" y="554655"/>
                    </a:lnTo>
                    <a:lnTo>
                      <a:pt x="901183" y="554655"/>
                    </a:lnTo>
                    <a:lnTo>
                      <a:pt x="901172" y="554655"/>
                    </a:lnTo>
                    <a:lnTo>
                      <a:pt x="885666" y="554655"/>
                    </a:lnTo>
                    <a:lnTo>
                      <a:pt x="885665" y="554655"/>
                    </a:lnTo>
                    <a:lnTo>
                      <a:pt x="880937" y="554655"/>
                    </a:lnTo>
                    <a:lnTo>
                      <a:pt x="880936" y="554655"/>
                    </a:lnTo>
                    <a:lnTo>
                      <a:pt x="869812" y="554655"/>
                    </a:lnTo>
                    <a:lnTo>
                      <a:pt x="869809" y="554655"/>
                    </a:lnTo>
                    <a:lnTo>
                      <a:pt x="849563" y="554655"/>
                    </a:lnTo>
                    <a:lnTo>
                      <a:pt x="849562" y="554655"/>
                    </a:lnTo>
                    <a:lnTo>
                      <a:pt x="849478" y="554655"/>
                    </a:lnTo>
                    <a:lnTo>
                      <a:pt x="849475" y="554655"/>
                    </a:lnTo>
                    <a:lnTo>
                      <a:pt x="833972" y="554655"/>
                    </a:lnTo>
                    <a:lnTo>
                      <a:pt x="833969" y="554655"/>
                    </a:lnTo>
                    <a:lnTo>
                      <a:pt x="829242" y="554655"/>
                    </a:lnTo>
                    <a:lnTo>
                      <a:pt x="829240" y="554655"/>
                    </a:lnTo>
                    <a:lnTo>
                      <a:pt x="829229" y="554655"/>
                    </a:lnTo>
                    <a:lnTo>
                      <a:pt x="829228" y="554655"/>
                    </a:lnTo>
                    <a:lnTo>
                      <a:pt x="812577" y="554655"/>
                    </a:lnTo>
                    <a:lnTo>
                      <a:pt x="812576" y="554655"/>
                    </a:lnTo>
                    <a:lnTo>
                      <a:pt x="797868" y="554655"/>
                    </a:lnTo>
                    <a:lnTo>
                      <a:pt x="797866" y="554655"/>
                    </a:lnTo>
                    <a:lnTo>
                      <a:pt x="777535" y="554655"/>
                    </a:lnTo>
                    <a:lnTo>
                      <a:pt x="777532" y="554655"/>
                    </a:lnTo>
                    <a:lnTo>
                      <a:pt x="760882" y="554655"/>
                    </a:lnTo>
                    <a:lnTo>
                      <a:pt x="760879" y="554655"/>
                    </a:lnTo>
                    <a:lnTo>
                      <a:pt x="760868" y="554655"/>
                    </a:lnTo>
                    <a:lnTo>
                      <a:pt x="756140" y="554655"/>
                    </a:lnTo>
                    <a:lnTo>
                      <a:pt x="756139" y="554655"/>
                    </a:lnTo>
                    <a:lnTo>
                      <a:pt x="740633" y="554655"/>
                    </a:lnTo>
                    <a:lnTo>
                      <a:pt x="740632" y="554655"/>
                    </a:lnTo>
                    <a:lnTo>
                      <a:pt x="709174" y="554655"/>
                    </a:lnTo>
                    <a:lnTo>
                      <a:pt x="709171" y="554655"/>
                    </a:lnTo>
                    <a:lnTo>
                      <a:pt x="704445" y="554655"/>
                    </a:lnTo>
                    <a:lnTo>
                      <a:pt x="704442" y="554655"/>
                    </a:lnTo>
                    <a:lnTo>
                      <a:pt x="688938" y="554655"/>
                    </a:lnTo>
                    <a:lnTo>
                      <a:pt x="688936" y="554655"/>
                    </a:lnTo>
                    <a:lnTo>
                      <a:pt x="688925" y="554655"/>
                    </a:lnTo>
                    <a:lnTo>
                      <a:pt x="688924" y="554655"/>
                    </a:lnTo>
                    <a:lnTo>
                      <a:pt x="684196" y="554655"/>
                    </a:lnTo>
                    <a:lnTo>
                      <a:pt x="684195" y="554655"/>
                    </a:lnTo>
                    <a:lnTo>
                      <a:pt x="637231" y="554655"/>
                    </a:lnTo>
                    <a:lnTo>
                      <a:pt x="637228" y="554655"/>
                    </a:lnTo>
                    <a:lnTo>
                      <a:pt x="632501" y="554655"/>
                    </a:lnTo>
                    <a:lnTo>
                      <a:pt x="632499" y="554655"/>
                    </a:lnTo>
                    <a:lnTo>
                      <a:pt x="615836" y="554655"/>
                    </a:lnTo>
                    <a:lnTo>
                      <a:pt x="615835" y="554655"/>
                    </a:lnTo>
                    <a:lnTo>
                      <a:pt x="564141" y="554655"/>
                    </a:lnTo>
                    <a:lnTo>
                      <a:pt x="564138" y="554655"/>
                    </a:lnTo>
                    <a:lnTo>
                      <a:pt x="543892" y="554655"/>
                    </a:lnTo>
                    <a:lnTo>
                      <a:pt x="543891" y="554655"/>
                    </a:lnTo>
                    <a:lnTo>
                      <a:pt x="492197" y="554655"/>
                    </a:lnTo>
                    <a:lnTo>
                      <a:pt x="492195" y="554655"/>
                    </a:lnTo>
                    <a:lnTo>
                      <a:pt x="277328" y="554654"/>
                    </a:lnTo>
                    <a:cubicBezTo>
                      <a:pt x="143309" y="554654"/>
                      <a:pt x="31494" y="459591"/>
                      <a:pt x="5634" y="333218"/>
                    </a:cubicBezTo>
                    <a:lnTo>
                      <a:pt x="0" y="277328"/>
                    </a:lnTo>
                    <a:lnTo>
                      <a:pt x="5634" y="221437"/>
                    </a:lnTo>
                    <a:cubicBezTo>
                      <a:pt x="31494" y="95063"/>
                      <a:pt x="143309" y="0"/>
                      <a:pt x="277328" y="0"/>
                    </a:cubicBezTo>
                    <a:close/>
                  </a:path>
                </a:pathLst>
              </a:custGeom>
              <a:noFill/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ru-RU"/>
              </a:p>
            </p:txBody>
          </p:sp>
        </p:grpSp>
        <p:sp>
          <p:nvSpPr>
            <p:cNvPr id="73" name="Полилиния 72"/>
            <p:cNvSpPr/>
            <p:nvPr/>
          </p:nvSpPr>
          <p:spPr>
            <a:xfrm>
              <a:off x="5930796" y="5109475"/>
              <a:ext cx="1540608" cy="554655"/>
            </a:xfrm>
            <a:custGeom>
              <a:avLst/>
              <a:gdLst>
                <a:gd name="connsiteX0" fmla="*/ 277328 w 1540608"/>
                <a:gd name="connsiteY0" fmla="*/ 0 h 554655"/>
                <a:gd name="connsiteX1" fmla="*/ 329024 w 1540608"/>
                <a:gd name="connsiteY1" fmla="*/ 0 h 554655"/>
                <a:gd name="connsiteX2" fmla="*/ 349271 w 1540608"/>
                <a:gd name="connsiteY2" fmla="*/ 0 h 554655"/>
                <a:gd name="connsiteX3" fmla="*/ 400968 w 1540608"/>
                <a:gd name="connsiteY3" fmla="*/ 0 h 554655"/>
                <a:gd name="connsiteX4" fmla="*/ 422361 w 1540608"/>
                <a:gd name="connsiteY4" fmla="*/ 0 h 554655"/>
                <a:gd name="connsiteX5" fmla="*/ 474057 w 1540608"/>
                <a:gd name="connsiteY5" fmla="*/ 0 h 554655"/>
                <a:gd name="connsiteX6" fmla="*/ 474069 w 1540608"/>
                <a:gd name="connsiteY6" fmla="*/ 0 h 554655"/>
                <a:gd name="connsiteX7" fmla="*/ 492196 w 1540608"/>
                <a:gd name="connsiteY7" fmla="*/ 0 h 554655"/>
                <a:gd name="connsiteX8" fmla="*/ 494304 w 1540608"/>
                <a:gd name="connsiteY8" fmla="*/ 0 h 554655"/>
                <a:gd name="connsiteX9" fmla="*/ 525765 w 1540608"/>
                <a:gd name="connsiteY9" fmla="*/ 0 h 554655"/>
                <a:gd name="connsiteX10" fmla="*/ 543892 w 1540608"/>
                <a:gd name="connsiteY10" fmla="*/ 0 h 554655"/>
                <a:gd name="connsiteX11" fmla="*/ 546001 w 1540608"/>
                <a:gd name="connsiteY11" fmla="*/ 0 h 554655"/>
                <a:gd name="connsiteX12" fmla="*/ 546012 w 1540608"/>
                <a:gd name="connsiteY12" fmla="*/ 0 h 554655"/>
                <a:gd name="connsiteX13" fmla="*/ 564139 w 1540608"/>
                <a:gd name="connsiteY13" fmla="*/ 0 h 554655"/>
                <a:gd name="connsiteX14" fmla="*/ 582999 w 1540608"/>
                <a:gd name="connsiteY14" fmla="*/ 0 h 554655"/>
                <a:gd name="connsiteX15" fmla="*/ 597709 w 1540608"/>
                <a:gd name="connsiteY15" fmla="*/ 0 h 554655"/>
                <a:gd name="connsiteX16" fmla="*/ 615836 w 1540608"/>
                <a:gd name="connsiteY16" fmla="*/ 0 h 554655"/>
                <a:gd name="connsiteX17" fmla="*/ 619102 w 1540608"/>
                <a:gd name="connsiteY17" fmla="*/ 0 h 554655"/>
                <a:gd name="connsiteX18" fmla="*/ 634695 w 1540608"/>
                <a:gd name="connsiteY18" fmla="*/ 0 h 554655"/>
                <a:gd name="connsiteX19" fmla="*/ 637229 w 1540608"/>
                <a:gd name="connsiteY19" fmla="*/ 0 h 554655"/>
                <a:gd name="connsiteX20" fmla="*/ 654942 w 1540608"/>
                <a:gd name="connsiteY20" fmla="*/ 0 h 554655"/>
                <a:gd name="connsiteX21" fmla="*/ 670798 w 1540608"/>
                <a:gd name="connsiteY21" fmla="*/ 0 h 554655"/>
                <a:gd name="connsiteX22" fmla="*/ 688925 w 1540608"/>
                <a:gd name="connsiteY22" fmla="*/ 0 h 554655"/>
                <a:gd name="connsiteX23" fmla="*/ 688937 w 1540608"/>
                <a:gd name="connsiteY23" fmla="*/ 0 h 554655"/>
                <a:gd name="connsiteX24" fmla="*/ 691045 w 1540608"/>
                <a:gd name="connsiteY24" fmla="*/ 0 h 554655"/>
                <a:gd name="connsiteX25" fmla="*/ 706639 w 1540608"/>
                <a:gd name="connsiteY25" fmla="*/ 0 h 554655"/>
                <a:gd name="connsiteX26" fmla="*/ 709172 w 1540608"/>
                <a:gd name="connsiteY26" fmla="*/ 0 h 554655"/>
                <a:gd name="connsiteX27" fmla="*/ 728032 w 1540608"/>
                <a:gd name="connsiteY27" fmla="*/ 0 h 554655"/>
                <a:gd name="connsiteX28" fmla="*/ 740633 w 1540608"/>
                <a:gd name="connsiteY28" fmla="*/ 0 h 554655"/>
                <a:gd name="connsiteX29" fmla="*/ 742742 w 1540608"/>
                <a:gd name="connsiteY29" fmla="*/ 0 h 554655"/>
                <a:gd name="connsiteX30" fmla="*/ 760869 w 1540608"/>
                <a:gd name="connsiteY30" fmla="*/ 0 h 554655"/>
                <a:gd name="connsiteX31" fmla="*/ 760880 w 1540608"/>
                <a:gd name="connsiteY31" fmla="*/ 0 h 554655"/>
                <a:gd name="connsiteX32" fmla="*/ 779728 w 1540608"/>
                <a:gd name="connsiteY32" fmla="*/ 0 h 554655"/>
                <a:gd name="connsiteX33" fmla="*/ 779740 w 1540608"/>
                <a:gd name="connsiteY33" fmla="*/ 0 h 554655"/>
                <a:gd name="connsiteX34" fmla="*/ 797867 w 1540608"/>
                <a:gd name="connsiteY34" fmla="*/ 0 h 554655"/>
                <a:gd name="connsiteX35" fmla="*/ 799975 w 1540608"/>
                <a:gd name="connsiteY35" fmla="*/ 0 h 554655"/>
                <a:gd name="connsiteX36" fmla="*/ 812577 w 1540608"/>
                <a:gd name="connsiteY36" fmla="*/ 0 h 554655"/>
                <a:gd name="connsiteX37" fmla="*/ 831436 w 1540608"/>
                <a:gd name="connsiteY37" fmla="*/ 0 h 554655"/>
                <a:gd name="connsiteX38" fmla="*/ 833970 w 1540608"/>
                <a:gd name="connsiteY38" fmla="*/ 0 h 554655"/>
                <a:gd name="connsiteX39" fmla="*/ 849563 w 1540608"/>
                <a:gd name="connsiteY39" fmla="*/ 0 h 554655"/>
                <a:gd name="connsiteX40" fmla="*/ 851672 w 1540608"/>
                <a:gd name="connsiteY40" fmla="*/ 0 h 554655"/>
                <a:gd name="connsiteX41" fmla="*/ 851683 w 1540608"/>
                <a:gd name="connsiteY41" fmla="*/ 0 h 554655"/>
                <a:gd name="connsiteX42" fmla="*/ 869810 w 1540608"/>
                <a:gd name="connsiteY42" fmla="*/ 0 h 554655"/>
                <a:gd name="connsiteX43" fmla="*/ 885666 w 1540608"/>
                <a:gd name="connsiteY43" fmla="*/ 0 h 554655"/>
                <a:gd name="connsiteX44" fmla="*/ 903380 w 1540608"/>
                <a:gd name="connsiteY44" fmla="*/ 0 h 554655"/>
                <a:gd name="connsiteX45" fmla="*/ 905913 w 1540608"/>
                <a:gd name="connsiteY45" fmla="*/ 0 h 554655"/>
                <a:gd name="connsiteX46" fmla="*/ 921507 w 1540608"/>
                <a:gd name="connsiteY46" fmla="*/ 0 h 554655"/>
                <a:gd name="connsiteX47" fmla="*/ 924773 w 1540608"/>
                <a:gd name="connsiteY47" fmla="*/ 0 h 554655"/>
                <a:gd name="connsiteX48" fmla="*/ 942900 w 1540608"/>
                <a:gd name="connsiteY48" fmla="*/ 0 h 554655"/>
                <a:gd name="connsiteX49" fmla="*/ 957610 w 1540608"/>
                <a:gd name="connsiteY49" fmla="*/ 0 h 554655"/>
                <a:gd name="connsiteX50" fmla="*/ 976469 w 1540608"/>
                <a:gd name="connsiteY50" fmla="*/ 0 h 554655"/>
                <a:gd name="connsiteX51" fmla="*/ 994596 w 1540608"/>
                <a:gd name="connsiteY51" fmla="*/ 0 h 554655"/>
                <a:gd name="connsiteX52" fmla="*/ 994608 w 1540608"/>
                <a:gd name="connsiteY52" fmla="*/ 0 h 554655"/>
                <a:gd name="connsiteX53" fmla="*/ 996716 w 1540608"/>
                <a:gd name="connsiteY53" fmla="*/ 0 h 554655"/>
                <a:gd name="connsiteX54" fmla="*/ 1014843 w 1540608"/>
                <a:gd name="connsiteY54" fmla="*/ 0 h 554655"/>
                <a:gd name="connsiteX55" fmla="*/ 1046304 w 1540608"/>
                <a:gd name="connsiteY55" fmla="*/ 0 h 554655"/>
                <a:gd name="connsiteX56" fmla="*/ 1048413 w 1540608"/>
                <a:gd name="connsiteY56" fmla="*/ 0 h 554655"/>
                <a:gd name="connsiteX57" fmla="*/ 1066540 w 1540608"/>
                <a:gd name="connsiteY57" fmla="*/ 0 h 554655"/>
                <a:gd name="connsiteX58" fmla="*/ 1066551 w 1540608"/>
                <a:gd name="connsiteY58" fmla="*/ 0 h 554655"/>
                <a:gd name="connsiteX59" fmla="*/ 1118248 w 1540608"/>
                <a:gd name="connsiteY59" fmla="*/ 0 h 554655"/>
                <a:gd name="connsiteX60" fmla="*/ 1139641 w 1540608"/>
                <a:gd name="connsiteY60" fmla="*/ 0 h 554655"/>
                <a:gd name="connsiteX61" fmla="*/ 1191337 w 1540608"/>
                <a:gd name="connsiteY61" fmla="*/ 0 h 554655"/>
                <a:gd name="connsiteX62" fmla="*/ 1211584 w 1540608"/>
                <a:gd name="connsiteY62" fmla="*/ 0 h 554655"/>
                <a:gd name="connsiteX63" fmla="*/ 1263281 w 1540608"/>
                <a:gd name="connsiteY63" fmla="*/ 0 h 554655"/>
                <a:gd name="connsiteX64" fmla="*/ 1540608 w 1540608"/>
                <a:gd name="connsiteY64" fmla="*/ 277328 h 554655"/>
                <a:gd name="connsiteX65" fmla="*/ 1540607 w 1540608"/>
                <a:gd name="connsiteY65" fmla="*/ 277328 h 554655"/>
                <a:gd name="connsiteX66" fmla="*/ 1263280 w 1540608"/>
                <a:gd name="connsiteY66" fmla="*/ 554655 h 554655"/>
                <a:gd name="connsiteX67" fmla="*/ 1211586 w 1540608"/>
                <a:gd name="connsiteY67" fmla="*/ 554655 h 554655"/>
                <a:gd name="connsiteX68" fmla="*/ 1211583 w 1540608"/>
                <a:gd name="connsiteY68" fmla="*/ 554655 h 554655"/>
                <a:gd name="connsiteX69" fmla="*/ 1191337 w 1540608"/>
                <a:gd name="connsiteY69" fmla="*/ 554655 h 554655"/>
                <a:gd name="connsiteX70" fmla="*/ 1191336 w 1540608"/>
                <a:gd name="connsiteY70" fmla="*/ 554655 h 554655"/>
                <a:gd name="connsiteX71" fmla="*/ 1139643 w 1540608"/>
                <a:gd name="connsiteY71" fmla="*/ 554655 h 554655"/>
                <a:gd name="connsiteX72" fmla="*/ 1139640 w 1540608"/>
                <a:gd name="connsiteY72" fmla="*/ 554655 h 554655"/>
                <a:gd name="connsiteX73" fmla="*/ 1118248 w 1540608"/>
                <a:gd name="connsiteY73" fmla="*/ 554655 h 554655"/>
                <a:gd name="connsiteX74" fmla="*/ 1118247 w 1540608"/>
                <a:gd name="connsiteY74" fmla="*/ 554655 h 554655"/>
                <a:gd name="connsiteX75" fmla="*/ 1066553 w 1540608"/>
                <a:gd name="connsiteY75" fmla="*/ 554655 h 554655"/>
                <a:gd name="connsiteX76" fmla="*/ 1066550 w 1540608"/>
                <a:gd name="connsiteY76" fmla="*/ 554655 h 554655"/>
                <a:gd name="connsiteX77" fmla="*/ 1066539 w 1540608"/>
                <a:gd name="connsiteY77" fmla="*/ 554655 h 554655"/>
                <a:gd name="connsiteX78" fmla="*/ 1046304 w 1540608"/>
                <a:gd name="connsiteY78" fmla="*/ 554655 h 554655"/>
                <a:gd name="connsiteX79" fmla="*/ 1046303 w 1540608"/>
                <a:gd name="connsiteY79" fmla="*/ 554655 h 554655"/>
                <a:gd name="connsiteX80" fmla="*/ 1014845 w 1540608"/>
                <a:gd name="connsiteY80" fmla="*/ 554655 h 554655"/>
                <a:gd name="connsiteX81" fmla="*/ 1014842 w 1540608"/>
                <a:gd name="connsiteY81" fmla="*/ 554655 h 554655"/>
                <a:gd name="connsiteX82" fmla="*/ 994609 w 1540608"/>
                <a:gd name="connsiteY82" fmla="*/ 554655 h 554655"/>
                <a:gd name="connsiteX83" fmla="*/ 994607 w 1540608"/>
                <a:gd name="connsiteY83" fmla="*/ 554655 h 554655"/>
                <a:gd name="connsiteX84" fmla="*/ 994596 w 1540608"/>
                <a:gd name="connsiteY84" fmla="*/ 554655 h 554655"/>
                <a:gd name="connsiteX85" fmla="*/ 994595 w 1540608"/>
                <a:gd name="connsiteY85" fmla="*/ 554655 h 554655"/>
                <a:gd name="connsiteX86" fmla="*/ 957609 w 1540608"/>
                <a:gd name="connsiteY86" fmla="*/ 554655 h 554655"/>
                <a:gd name="connsiteX87" fmla="*/ 942902 w 1540608"/>
                <a:gd name="connsiteY87" fmla="*/ 554655 h 554655"/>
                <a:gd name="connsiteX88" fmla="*/ 942899 w 1540608"/>
                <a:gd name="connsiteY88" fmla="*/ 554655 h 554655"/>
                <a:gd name="connsiteX89" fmla="*/ 921507 w 1540608"/>
                <a:gd name="connsiteY89" fmla="*/ 554655 h 554655"/>
                <a:gd name="connsiteX90" fmla="*/ 921506 w 1540608"/>
                <a:gd name="connsiteY90" fmla="*/ 554655 h 554655"/>
                <a:gd name="connsiteX91" fmla="*/ 905915 w 1540608"/>
                <a:gd name="connsiteY91" fmla="*/ 554655 h 554655"/>
                <a:gd name="connsiteX92" fmla="*/ 905912 w 1540608"/>
                <a:gd name="connsiteY92" fmla="*/ 554655 h 554655"/>
                <a:gd name="connsiteX93" fmla="*/ 885666 w 1540608"/>
                <a:gd name="connsiteY93" fmla="*/ 554655 h 554655"/>
                <a:gd name="connsiteX94" fmla="*/ 885665 w 1540608"/>
                <a:gd name="connsiteY94" fmla="*/ 554655 h 554655"/>
                <a:gd name="connsiteX95" fmla="*/ 869812 w 1540608"/>
                <a:gd name="connsiteY95" fmla="*/ 554655 h 554655"/>
                <a:gd name="connsiteX96" fmla="*/ 869809 w 1540608"/>
                <a:gd name="connsiteY96" fmla="*/ 554655 h 554655"/>
                <a:gd name="connsiteX97" fmla="*/ 849563 w 1540608"/>
                <a:gd name="connsiteY97" fmla="*/ 554655 h 554655"/>
                <a:gd name="connsiteX98" fmla="*/ 849562 w 1540608"/>
                <a:gd name="connsiteY98" fmla="*/ 554655 h 554655"/>
                <a:gd name="connsiteX99" fmla="*/ 833972 w 1540608"/>
                <a:gd name="connsiteY99" fmla="*/ 554655 h 554655"/>
                <a:gd name="connsiteX100" fmla="*/ 833969 w 1540608"/>
                <a:gd name="connsiteY100" fmla="*/ 554655 h 554655"/>
                <a:gd name="connsiteX101" fmla="*/ 812577 w 1540608"/>
                <a:gd name="connsiteY101" fmla="*/ 554655 h 554655"/>
                <a:gd name="connsiteX102" fmla="*/ 812576 w 1540608"/>
                <a:gd name="connsiteY102" fmla="*/ 554655 h 554655"/>
                <a:gd name="connsiteX103" fmla="*/ 797868 w 1540608"/>
                <a:gd name="connsiteY103" fmla="*/ 554655 h 554655"/>
                <a:gd name="connsiteX104" fmla="*/ 797866 w 1540608"/>
                <a:gd name="connsiteY104" fmla="*/ 554655 h 554655"/>
                <a:gd name="connsiteX105" fmla="*/ 760882 w 1540608"/>
                <a:gd name="connsiteY105" fmla="*/ 554655 h 554655"/>
                <a:gd name="connsiteX106" fmla="*/ 760879 w 1540608"/>
                <a:gd name="connsiteY106" fmla="*/ 554655 h 554655"/>
                <a:gd name="connsiteX107" fmla="*/ 760868 w 1540608"/>
                <a:gd name="connsiteY107" fmla="*/ 554655 h 554655"/>
                <a:gd name="connsiteX108" fmla="*/ 740633 w 1540608"/>
                <a:gd name="connsiteY108" fmla="*/ 554655 h 554655"/>
                <a:gd name="connsiteX109" fmla="*/ 740632 w 1540608"/>
                <a:gd name="connsiteY109" fmla="*/ 554655 h 554655"/>
                <a:gd name="connsiteX110" fmla="*/ 709174 w 1540608"/>
                <a:gd name="connsiteY110" fmla="*/ 554655 h 554655"/>
                <a:gd name="connsiteX111" fmla="*/ 709171 w 1540608"/>
                <a:gd name="connsiteY111" fmla="*/ 554655 h 554655"/>
                <a:gd name="connsiteX112" fmla="*/ 688938 w 1540608"/>
                <a:gd name="connsiteY112" fmla="*/ 554655 h 554655"/>
                <a:gd name="connsiteX113" fmla="*/ 688936 w 1540608"/>
                <a:gd name="connsiteY113" fmla="*/ 554655 h 554655"/>
                <a:gd name="connsiteX114" fmla="*/ 688925 w 1540608"/>
                <a:gd name="connsiteY114" fmla="*/ 554655 h 554655"/>
                <a:gd name="connsiteX115" fmla="*/ 688924 w 1540608"/>
                <a:gd name="connsiteY115" fmla="*/ 554655 h 554655"/>
                <a:gd name="connsiteX116" fmla="*/ 637231 w 1540608"/>
                <a:gd name="connsiteY116" fmla="*/ 554655 h 554655"/>
                <a:gd name="connsiteX117" fmla="*/ 637228 w 1540608"/>
                <a:gd name="connsiteY117" fmla="*/ 554655 h 554655"/>
                <a:gd name="connsiteX118" fmla="*/ 615836 w 1540608"/>
                <a:gd name="connsiteY118" fmla="*/ 554655 h 554655"/>
                <a:gd name="connsiteX119" fmla="*/ 615835 w 1540608"/>
                <a:gd name="connsiteY119" fmla="*/ 554655 h 554655"/>
                <a:gd name="connsiteX120" fmla="*/ 564141 w 1540608"/>
                <a:gd name="connsiteY120" fmla="*/ 554655 h 554655"/>
                <a:gd name="connsiteX121" fmla="*/ 564138 w 1540608"/>
                <a:gd name="connsiteY121" fmla="*/ 554655 h 554655"/>
                <a:gd name="connsiteX122" fmla="*/ 543892 w 1540608"/>
                <a:gd name="connsiteY122" fmla="*/ 554655 h 554655"/>
                <a:gd name="connsiteX123" fmla="*/ 543891 w 1540608"/>
                <a:gd name="connsiteY123" fmla="*/ 554655 h 554655"/>
                <a:gd name="connsiteX124" fmla="*/ 492197 w 1540608"/>
                <a:gd name="connsiteY124" fmla="*/ 554655 h 554655"/>
                <a:gd name="connsiteX125" fmla="*/ 492195 w 1540608"/>
                <a:gd name="connsiteY125" fmla="*/ 554655 h 554655"/>
                <a:gd name="connsiteX126" fmla="*/ 277328 w 1540608"/>
                <a:gd name="connsiteY126" fmla="*/ 554654 h 554655"/>
                <a:gd name="connsiteX127" fmla="*/ 5634 w 1540608"/>
                <a:gd name="connsiteY127" fmla="*/ 333218 h 554655"/>
                <a:gd name="connsiteX128" fmla="*/ 0 w 1540608"/>
                <a:gd name="connsiteY128" fmla="*/ 277328 h 554655"/>
                <a:gd name="connsiteX129" fmla="*/ 5634 w 1540608"/>
                <a:gd name="connsiteY129" fmla="*/ 221437 h 554655"/>
                <a:gd name="connsiteX130" fmla="*/ 277328 w 1540608"/>
                <a:gd name="connsiteY130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40608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82999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54942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28032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12577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9810" y="0"/>
                  </a:lnTo>
                  <a:lnTo>
                    <a:pt x="885666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42900" y="0"/>
                  </a:lnTo>
                  <a:lnTo>
                    <a:pt x="957610" y="0"/>
                  </a:lnTo>
                  <a:lnTo>
                    <a:pt x="976469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4843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118248" y="0"/>
                  </a:lnTo>
                  <a:lnTo>
                    <a:pt x="1139641" y="0"/>
                  </a:lnTo>
                  <a:lnTo>
                    <a:pt x="1191337" y="0"/>
                  </a:lnTo>
                  <a:lnTo>
                    <a:pt x="1211584" y="0"/>
                  </a:lnTo>
                  <a:lnTo>
                    <a:pt x="1263281" y="0"/>
                  </a:lnTo>
                  <a:cubicBezTo>
                    <a:pt x="1416445" y="0"/>
                    <a:pt x="1540608" y="124164"/>
                    <a:pt x="1540608" y="277328"/>
                  </a:cubicBezTo>
                  <a:lnTo>
                    <a:pt x="1540607" y="277328"/>
                  </a:lnTo>
                  <a:cubicBezTo>
                    <a:pt x="1540607" y="430492"/>
                    <a:pt x="1416444" y="554655"/>
                    <a:pt x="1263280" y="554655"/>
                  </a:cubicBezTo>
                  <a:lnTo>
                    <a:pt x="1211586" y="554655"/>
                  </a:lnTo>
                  <a:lnTo>
                    <a:pt x="1211583" y="554655"/>
                  </a:lnTo>
                  <a:lnTo>
                    <a:pt x="1191337" y="554655"/>
                  </a:lnTo>
                  <a:lnTo>
                    <a:pt x="1191336" y="554655"/>
                  </a:lnTo>
                  <a:lnTo>
                    <a:pt x="1139643" y="554655"/>
                  </a:lnTo>
                  <a:lnTo>
                    <a:pt x="1139640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57609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pic>
          <p:nvPicPr>
            <p:cNvPr id="75" name="Рисунок 74"/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7743659" y="5225955"/>
              <a:ext cx="1111238" cy="320073"/>
            </a:xfrm>
            <a:prstGeom prst="rect">
              <a:avLst/>
            </a:prstGeom>
          </p:spPr>
        </p:pic>
        <p:sp>
          <p:nvSpPr>
            <p:cNvPr id="76" name="Полилиния 75"/>
            <p:cNvSpPr/>
            <p:nvPr/>
          </p:nvSpPr>
          <p:spPr>
            <a:xfrm>
              <a:off x="7528973" y="5109474"/>
              <a:ext cx="1540608" cy="554655"/>
            </a:xfrm>
            <a:custGeom>
              <a:avLst/>
              <a:gdLst>
                <a:gd name="connsiteX0" fmla="*/ 277328 w 1540608"/>
                <a:gd name="connsiteY0" fmla="*/ 0 h 554655"/>
                <a:gd name="connsiteX1" fmla="*/ 329024 w 1540608"/>
                <a:gd name="connsiteY1" fmla="*/ 0 h 554655"/>
                <a:gd name="connsiteX2" fmla="*/ 349271 w 1540608"/>
                <a:gd name="connsiteY2" fmla="*/ 0 h 554655"/>
                <a:gd name="connsiteX3" fmla="*/ 400968 w 1540608"/>
                <a:gd name="connsiteY3" fmla="*/ 0 h 554655"/>
                <a:gd name="connsiteX4" fmla="*/ 422361 w 1540608"/>
                <a:gd name="connsiteY4" fmla="*/ 0 h 554655"/>
                <a:gd name="connsiteX5" fmla="*/ 474057 w 1540608"/>
                <a:gd name="connsiteY5" fmla="*/ 0 h 554655"/>
                <a:gd name="connsiteX6" fmla="*/ 474069 w 1540608"/>
                <a:gd name="connsiteY6" fmla="*/ 0 h 554655"/>
                <a:gd name="connsiteX7" fmla="*/ 492196 w 1540608"/>
                <a:gd name="connsiteY7" fmla="*/ 0 h 554655"/>
                <a:gd name="connsiteX8" fmla="*/ 494304 w 1540608"/>
                <a:gd name="connsiteY8" fmla="*/ 0 h 554655"/>
                <a:gd name="connsiteX9" fmla="*/ 525765 w 1540608"/>
                <a:gd name="connsiteY9" fmla="*/ 0 h 554655"/>
                <a:gd name="connsiteX10" fmla="*/ 543892 w 1540608"/>
                <a:gd name="connsiteY10" fmla="*/ 0 h 554655"/>
                <a:gd name="connsiteX11" fmla="*/ 546001 w 1540608"/>
                <a:gd name="connsiteY11" fmla="*/ 0 h 554655"/>
                <a:gd name="connsiteX12" fmla="*/ 546012 w 1540608"/>
                <a:gd name="connsiteY12" fmla="*/ 0 h 554655"/>
                <a:gd name="connsiteX13" fmla="*/ 564139 w 1540608"/>
                <a:gd name="connsiteY13" fmla="*/ 0 h 554655"/>
                <a:gd name="connsiteX14" fmla="*/ 582999 w 1540608"/>
                <a:gd name="connsiteY14" fmla="*/ 0 h 554655"/>
                <a:gd name="connsiteX15" fmla="*/ 597709 w 1540608"/>
                <a:gd name="connsiteY15" fmla="*/ 0 h 554655"/>
                <a:gd name="connsiteX16" fmla="*/ 615836 w 1540608"/>
                <a:gd name="connsiteY16" fmla="*/ 0 h 554655"/>
                <a:gd name="connsiteX17" fmla="*/ 619102 w 1540608"/>
                <a:gd name="connsiteY17" fmla="*/ 0 h 554655"/>
                <a:gd name="connsiteX18" fmla="*/ 634695 w 1540608"/>
                <a:gd name="connsiteY18" fmla="*/ 0 h 554655"/>
                <a:gd name="connsiteX19" fmla="*/ 637229 w 1540608"/>
                <a:gd name="connsiteY19" fmla="*/ 0 h 554655"/>
                <a:gd name="connsiteX20" fmla="*/ 654942 w 1540608"/>
                <a:gd name="connsiteY20" fmla="*/ 0 h 554655"/>
                <a:gd name="connsiteX21" fmla="*/ 670798 w 1540608"/>
                <a:gd name="connsiteY21" fmla="*/ 0 h 554655"/>
                <a:gd name="connsiteX22" fmla="*/ 688925 w 1540608"/>
                <a:gd name="connsiteY22" fmla="*/ 0 h 554655"/>
                <a:gd name="connsiteX23" fmla="*/ 688937 w 1540608"/>
                <a:gd name="connsiteY23" fmla="*/ 0 h 554655"/>
                <a:gd name="connsiteX24" fmla="*/ 691045 w 1540608"/>
                <a:gd name="connsiteY24" fmla="*/ 0 h 554655"/>
                <a:gd name="connsiteX25" fmla="*/ 706639 w 1540608"/>
                <a:gd name="connsiteY25" fmla="*/ 0 h 554655"/>
                <a:gd name="connsiteX26" fmla="*/ 709172 w 1540608"/>
                <a:gd name="connsiteY26" fmla="*/ 0 h 554655"/>
                <a:gd name="connsiteX27" fmla="*/ 728032 w 1540608"/>
                <a:gd name="connsiteY27" fmla="*/ 0 h 554655"/>
                <a:gd name="connsiteX28" fmla="*/ 740633 w 1540608"/>
                <a:gd name="connsiteY28" fmla="*/ 0 h 554655"/>
                <a:gd name="connsiteX29" fmla="*/ 742742 w 1540608"/>
                <a:gd name="connsiteY29" fmla="*/ 0 h 554655"/>
                <a:gd name="connsiteX30" fmla="*/ 760869 w 1540608"/>
                <a:gd name="connsiteY30" fmla="*/ 0 h 554655"/>
                <a:gd name="connsiteX31" fmla="*/ 760880 w 1540608"/>
                <a:gd name="connsiteY31" fmla="*/ 0 h 554655"/>
                <a:gd name="connsiteX32" fmla="*/ 779728 w 1540608"/>
                <a:gd name="connsiteY32" fmla="*/ 0 h 554655"/>
                <a:gd name="connsiteX33" fmla="*/ 779740 w 1540608"/>
                <a:gd name="connsiteY33" fmla="*/ 0 h 554655"/>
                <a:gd name="connsiteX34" fmla="*/ 797867 w 1540608"/>
                <a:gd name="connsiteY34" fmla="*/ 0 h 554655"/>
                <a:gd name="connsiteX35" fmla="*/ 799975 w 1540608"/>
                <a:gd name="connsiteY35" fmla="*/ 0 h 554655"/>
                <a:gd name="connsiteX36" fmla="*/ 812577 w 1540608"/>
                <a:gd name="connsiteY36" fmla="*/ 0 h 554655"/>
                <a:gd name="connsiteX37" fmla="*/ 831436 w 1540608"/>
                <a:gd name="connsiteY37" fmla="*/ 0 h 554655"/>
                <a:gd name="connsiteX38" fmla="*/ 833970 w 1540608"/>
                <a:gd name="connsiteY38" fmla="*/ 0 h 554655"/>
                <a:gd name="connsiteX39" fmla="*/ 849563 w 1540608"/>
                <a:gd name="connsiteY39" fmla="*/ 0 h 554655"/>
                <a:gd name="connsiteX40" fmla="*/ 851672 w 1540608"/>
                <a:gd name="connsiteY40" fmla="*/ 0 h 554655"/>
                <a:gd name="connsiteX41" fmla="*/ 851683 w 1540608"/>
                <a:gd name="connsiteY41" fmla="*/ 0 h 554655"/>
                <a:gd name="connsiteX42" fmla="*/ 869810 w 1540608"/>
                <a:gd name="connsiteY42" fmla="*/ 0 h 554655"/>
                <a:gd name="connsiteX43" fmla="*/ 885666 w 1540608"/>
                <a:gd name="connsiteY43" fmla="*/ 0 h 554655"/>
                <a:gd name="connsiteX44" fmla="*/ 903380 w 1540608"/>
                <a:gd name="connsiteY44" fmla="*/ 0 h 554655"/>
                <a:gd name="connsiteX45" fmla="*/ 905913 w 1540608"/>
                <a:gd name="connsiteY45" fmla="*/ 0 h 554655"/>
                <a:gd name="connsiteX46" fmla="*/ 921507 w 1540608"/>
                <a:gd name="connsiteY46" fmla="*/ 0 h 554655"/>
                <a:gd name="connsiteX47" fmla="*/ 924773 w 1540608"/>
                <a:gd name="connsiteY47" fmla="*/ 0 h 554655"/>
                <a:gd name="connsiteX48" fmla="*/ 942900 w 1540608"/>
                <a:gd name="connsiteY48" fmla="*/ 0 h 554655"/>
                <a:gd name="connsiteX49" fmla="*/ 957610 w 1540608"/>
                <a:gd name="connsiteY49" fmla="*/ 0 h 554655"/>
                <a:gd name="connsiteX50" fmla="*/ 976469 w 1540608"/>
                <a:gd name="connsiteY50" fmla="*/ 0 h 554655"/>
                <a:gd name="connsiteX51" fmla="*/ 994596 w 1540608"/>
                <a:gd name="connsiteY51" fmla="*/ 0 h 554655"/>
                <a:gd name="connsiteX52" fmla="*/ 994608 w 1540608"/>
                <a:gd name="connsiteY52" fmla="*/ 0 h 554655"/>
                <a:gd name="connsiteX53" fmla="*/ 996716 w 1540608"/>
                <a:gd name="connsiteY53" fmla="*/ 0 h 554655"/>
                <a:gd name="connsiteX54" fmla="*/ 1014843 w 1540608"/>
                <a:gd name="connsiteY54" fmla="*/ 0 h 554655"/>
                <a:gd name="connsiteX55" fmla="*/ 1046304 w 1540608"/>
                <a:gd name="connsiteY55" fmla="*/ 0 h 554655"/>
                <a:gd name="connsiteX56" fmla="*/ 1048413 w 1540608"/>
                <a:gd name="connsiteY56" fmla="*/ 0 h 554655"/>
                <a:gd name="connsiteX57" fmla="*/ 1066540 w 1540608"/>
                <a:gd name="connsiteY57" fmla="*/ 0 h 554655"/>
                <a:gd name="connsiteX58" fmla="*/ 1066551 w 1540608"/>
                <a:gd name="connsiteY58" fmla="*/ 0 h 554655"/>
                <a:gd name="connsiteX59" fmla="*/ 1118248 w 1540608"/>
                <a:gd name="connsiteY59" fmla="*/ 0 h 554655"/>
                <a:gd name="connsiteX60" fmla="*/ 1139641 w 1540608"/>
                <a:gd name="connsiteY60" fmla="*/ 0 h 554655"/>
                <a:gd name="connsiteX61" fmla="*/ 1191337 w 1540608"/>
                <a:gd name="connsiteY61" fmla="*/ 0 h 554655"/>
                <a:gd name="connsiteX62" fmla="*/ 1211584 w 1540608"/>
                <a:gd name="connsiteY62" fmla="*/ 0 h 554655"/>
                <a:gd name="connsiteX63" fmla="*/ 1263281 w 1540608"/>
                <a:gd name="connsiteY63" fmla="*/ 0 h 554655"/>
                <a:gd name="connsiteX64" fmla="*/ 1540608 w 1540608"/>
                <a:gd name="connsiteY64" fmla="*/ 277328 h 554655"/>
                <a:gd name="connsiteX65" fmla="*/ 1540607 w 1540608"/>
                <a:gd name="connsiteY65" fmla="*/ 277328 h 554655"/>
                <a:gd name="connsiteX66" fmla="*/ 1263280 w 1540608"/>
                <a:gd name="connsiteY66" fmla="*/ 554655 h 554655"/>
                <a:gd name="connsiteX67" fmla="*/ 1211586 w 1540608"/>
                <a:gd name="connsiteY67" fmla="*/ 554655 h 554655"/>
                <a:gd name="connsiteX68" fmla="*/ 1211583 w 1540608"/>
                <a:gd name="connsiteY68" fmla="*/ 554655 h 554655"/>
                <a:gd name="connsiteX69" fmla="*/ 1191337 w 1540608"/>
                <a:gd name="connsiteY69" fmla="*/ 554655 h 554655"/>
                <a:gd name="connsiteX70" fmla="*/ 1191336 w 1540608"/>
                <a:gd name="connsiteY70" fmla="*/ 554655 h 554655"/>
                <a:gd name="connsiteX71" fmla="*/ 1139643 w 1540608"/>
                <a:gd name="connsiteY71" fmla="*/ 554655 h 554655"/>
                <a:gd name="connsiteX72" fmla="*/ 1139640 w 1540608"/>
                <a:gd name="connsiteY72" fmla="*/ 554655 h 554655"/>
                <a:gd name="connsiteX73" fmla="*/ 1118248 w 1540608"/>
                <a:gd name="connsiteY73" fmla="*/ 554655 h 554655"/>
                <a:gd name="connsiteX74" fmla="*/ 1118247 w 1540608"/>
                <a:gd name="connsiteY74" fmla="*/ 554655 h 554655"/>
                <a:gd name="connsiteX75" fmla="*/ 1066553 w 1540608"/>
                <a:gd name="connsiteY75" fmla="*/ 554655 h 554655"/>
                <a:gd name="connsiteX76" fmla="*/ 1066550 w 1540608"/>
                <a:gd name="connsiteY76" fmla="*/ 554655 h 554655"/>
                <a:gd name="connsiteX77" fmla="*/ 1066539 w 1540608"/>
                <a:gd name="connsiteY77" fmla="*/ 554655 h 554655"/>
                <a:gd name="connsiteX78" fmla="*/ 1046304 w 1540608"/>
                <a:gd name="connsiteY78" fmla="*/ 554655 h 554655"/>
                <a:gd name="connsiteX79" fmla="*/ 1046303 w 1540608"/>
                <a:gd name="connsiteY79" fmla="*/ 554655 h 554655"/>
                <a:gd name="connsiteX80" fmla="*/ 1014845 w 1540608"/>
                <a:gd name="connsiteY80" fmla="*/ 554655 h 554655"/>
                <a:gd name="connsiteX81" fmla="*/ 1014842 w 1540608"/>
                <a:gd name="connsiteY81" fmla="*/ 554655 h 554655"/>
                <a:gd name="connsiteX82" fmla="*/ 994609 w 1540608"/>
                <a:gd name="connsiteY82" fmla="*/ 554655 h 554655"/>
                <a:gd name="connsiteX83" fmla="*/ 994607 w 1540608"/>
                <a:gd name="connsiteY83" fmla="*/ 554655 h 554655"/>
                <a:gd name="connsiteX84" fmla="*/ 994596 w 1540608"/>
                <a:gd name="connsiteY84" fmla="*/ 554655 h 554655"/>
                <a:gd name="connsiteX85" fmla="*/ 994595 w 1540608"/>
                <a:gd name="connsiteY85" fmla="*/ 554655 h 554655"/>
                <a:gd name="connsiteX86" fmla="*/ 957609 w 1540608"/>
                <a:gd name="connsiteY86" fmla="*/ 554655 h 554655"/>
                <a:gd name="connsiteX87" fmla="*/ 942902 w 1540608"/>
                <a:gd name="connsiteY87" fmla="*/ 554655 h 554655"/>
                <a:gd name="connsiteX88" fmla="*/ 942899 w 1540608"/>
                <a:gd name="connsiteY88" fmla="*/ 554655 h 554655"/>
                <a:gd name="connsiteX89" fmla="*/ 921507 w 1540608"/>
                <a:gd name="connsiteY89" fmla="*/ 554655 h 554655"/>
                <a:gd name="connsiteX90" fmla="*/ 921506 w 1540608"/>
                <a:gd name="connsiteY90" fmla="*/ 554655 h 554655"/>
                <a:gd name="connsiteX91" fmla="*/ 905915 w 1540608"/>
                <a:gd name="connsiteY91" fmla="*/ 554655 h 554655"/>
                <a:gd name="connsiteX92" fmla="*/ 905912 w 1540608"/>
                <a:gd name="connsiteY92" fmla="*/ 554655 h 554655"/>
                <a:gd name="connsiteX93" fmla="*/ 885666 w 1540608"/>
                <a:gd name="connsiteY93" fmla="*/ 554655 h 554655"/>
                <a:gd name="connsiteX94" fmla="*/ 885665 w 1540608"/>
                <a:gd name="connsiteY94" fmla="*/ 554655 h 554655"/>
                <a:gd name="connsiteX95" fmla="*/ 869812 w 1540608"/>
                <a:gd name="connsiteY95" fmla="*/ 554655 h 554655"/>
                <a:gd name="connsiteX96" fmla="*/ 869809 w 1540608"/>
                <a:gd name="connsiteY96" fmla="*/ 554655 h 554655"/>
                <a:gd name="connsiteX97" fmla="*/ 849563 w 1540608"/>
                <a:gd name="connsiteY97" fmla="*/ 554655 h 554655"/>
                <a:gd name="connsiteX98" fmla="*/ 849562 w 1540608"/>
                <a:gd name="connsiteY98" fmla="*/ 554655 h 554655"/>
                <a:gd name="connsiteX99" fmla="*/ 833972 w 1540608"/>
                <a:gd name="connsiteY99" fmla="*/ 554655 h 554655"/>
                <a:gd name="connsiteX100" fmla="*/ 833969 w 1540608"/>
                <a:gd name="connsiteY100" fmla="*/ 554655 h 554655"/>
                <a:gd name="connsiteX101" fmla="*/ 812577 w 1540608"/>
                <a:gd name="connsiteY101" fmla="*/ 554655 h 554655"/>
                <a:gd name="connsiteX102" fmla="*/ 812576 w 1540608"/>
                <a:gd name="connsiteY102" fmla="*/ 554655 h 554655"/>
                <a:gd name="connsiteX103" fmla="*/ 797868 w 1540608"/>
                <a:gd name="connsiteY103" fmla="*/ 554655 h 554655"/>
                <a:gd name="connsiteX104" fmla="*/ 797866 w 1540608"/>
                <a:gd name="connsiteY104" fmla="*/ 554655 h 554655"/>
                <a:gd name="connsiteX105" fmla="*/ 760882 w 1540608"/>
                <a:gd name="connsiteY105" fmla="*/ 554655 h 554655"/>
                <a:gd name="connsiteX106" fmla="*/ 760879 w 1540608"/>
                <a:gd name="connsiteY106" fmla="*/ 554655 h 554655"/>
                <a:gd name="connsiteX107" fmla="*/ 760868 w 1540608"/>
                <a:gd name="connsiteY107" fmla="*/ 554655 h 554655"/>
                <a:gd name="connsiteX108" fmla="*/ 740633 w 1540608"/>
                <a:gd name="connsiteY108" fmla="*/ 554655 h 554655"/>
                <a:gd name="connsiteX109" fmla="*/ 740632 w 1540608"/>
                <a:gd name="connsiteY109" fmla="*/ 554655 h 554655"/>
                <a:gd name="connsiteX110" fmla="*/ 709174 w 1540608"/>
                <a:gd name="connsiteY110" fmla="*/ 554655 h 554655"/>
                <a:gd name="connsiteX111" fmla="*/ 709171 w 1540608"/>
                <a:gd name="connsiteY111" fmla="*/ 554655 h 554655"/>
                <a:gd name="connsiteX112" fmla="*/ 688938 w 1540608"/>
                <a:gd name="connsiteY112" fmla="*/ 554655 h 554655"/>
                <a:gd name="connsiteX113" fmla="*/ 688936 w 1540608"/>
                <a:gd name="connsiteY113" fmla="*/ 554655 h 554655"/>
                <a:gd name="connsiteX114" fmla="*/ 688925 w 1540608"/>
                <a:gd name="connsiteY114" fmla="*/ 554655 h 554655"/>
                <a:gd name="connsiteX115" fmla="*/ 688924 w 1540608"/>
                <a:gd name="connsiteY115" fmla="*/ 554655 h 554655"/>
                <a:gd name="connsiteX116" fmla="*/ 637231 w 1540608"/>
                <a:gd name="connsiteY116" fmla="*/ 554655 h 554655"/>
                <a:gd name="connsiteX117" fmla="*/ 637228 w 1540608"/>
                <a:gd name="connsiteY117" fmla="*/ 554655 h 554655"/>
                <a:gd name="connsiteX118" fmla="*/ 615836 w 1540608"/>
                <a:gd name="connsiteY118" fmla="*/ 554655 h 554655"/>
                <a:gd name="connsiteX119" fmla="*/ 615835 w 1540608"/>
                <a:gd name="connsiteY119" fmla="*/ 554655 h 554655"/>
                <a:gd name="connsiteX120" fmla="*/ 564141 w 1540608"/>
                <a:gd name="connsiteY120" fmla="*/ 554655 h 554655"/>
                <a:gd name="connsiteX121" fmla="*/ 564138 w 1540608"/>
                <a:gd name="connsiteY121" fmla="*/ 554655 h 554655"/>
                <a:gd name="connsiteX122" fmla="*/ 543892 w 1540608"/>
                <a:gd name="connsiteY122" fmla="*/ 554655 h 554655"/>
                <a:gd name="connsiteX123" fmla="*/ 543891 w 1540608"/>
                <a:gd name="connsiteY123" fmla="*/ 554655 h 554655"/>
                <a:gd name="connsiteX124" fmla="*/ 492197 w 1540608"/>
                <a:gd name="connsiteY124" fmla="*/ 554655 h 554655"/>
                <a:gd name="connsiteX125" fmla="*/ 492195 w 1540608"/>
                <a:gd name="connsiteY125" fmla="*/ 554655 h 554655"/>
                <a:gd name="connsiteX126" fmla="*/ 277328 w 1540608"/>
                <a:gd name="connsiteY126" fmla="*/ 554654 h 554655"/>
                <a:gd name="connsiteX127" fmla="*/ 5634 w 1540608"/>
                <a:gd name="connsiteY127" fmla="*/ 333218 h 554655"/>
                <a:gd name="connsiteX128" fmla="*/ 0 w 1540608"/>
                <a:gd name="connsiteY128" fmla="*/ 277328 h 554655"/>
                <a:gd name="connsiteX129" fmla="*/ 5634 w 1540608"/>
                <a:gd name="connsiteY129" fmla="*/ 221437 h 554655"/>
                <a:gd name="connsiteX130" fmla="*/ 277328 w 1540608"/>
                <a:gd name="connsiteY130" fmla="*/ 0 h 55465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</a:cxnLst>
              <a:rect l="l" t="t" r="r" b="b"/>
              <a:pathLst>
                <a:path w="1540608" h="554655">
                  <a:moveTo>
                    <a:pt x="277328" y="0"/>
                  </a:moveTo>
                  <a:lnTo>
                    <a:pt x="329024" y="0"/>
                  </a:lnTo>
                  <a:lnTo>
                    <a:pt x="349271" y="0"/>
                  </a:lnTo>
                  <a:lnTo>
                    <a:pt x="400968" y="0"/>
                  </a:lnTo>
                  <a:lnTo>
                    <a:pt x="422361" y="0"/>
                  </a:lnTo>
                  <a:lnTo>
                    <a:pt x="474057" y="0"/>
                  </a:lnTo>
                  <a:lnTo>
                    <a:pt x="474069" y="0"/>
                  </a:lnTo>
                  <a:lnTo>
                    <a:pt x="492196" y="0"/>
                  </a:lnTo>
                  <a:lnTo>
                    <a:pt x="494304" y="0"/>
                  </a:lnTo>
                  <a:lnTo>
                    <a:pt x="525765" y="0"/>
                  </a:lnTo>
                  <a:lnTo>
                    <a:pt x="543892" y="0"/>
                  </a:lnTo>
                  <a:lnTo>
                    <a:pt x="546001" y="0"/>
                  </a:lnTo>
                  <a:lnTo>
                    <a:pt x="546012" y="0"/>
                  </a:lnTo>
                  <a:lnTo>
                    <a:pt x="564139" y="0"/>
                  </a:lnTo>
                  <a:lnTo>
                    <a:pt x="582999" y="0"/>
                  </a:lnTo>
                  <a:lnTo>
                    <a:pt x="597709" y="0"/>
                  </a:lnTo>
                  <a:lnTo>
                    <a:pt x="615836" y="0"/>
                  </a:lnTo>
                  <a:lnTo>
                    <a:pt x="619102" y="0"/>
                  </a:lnTo>
                  <a:lnTo>
                    <a:pt x="634695" y="0"/>
                  </a:lnTo>
                  <a:lnTo>
                    <a:pt x="637229" y="0"/>
                  </a:lnTo>
                  <a:lnTo>
                    <a:pt x="654942" y="0"/>
                  </a:lnTo>
                  <a:lnTo>
                    <a:pt x="670798" y="0"/>
                  </a:lnTo>
                  <a:lnTo>
                    <a:pt x="688925" y="0"/>
                  </a:lnTo>
                  <a:lnTo>
                    <a:pt x="688937" y="0"/>
                  </a:lnTo>
                  <a:lnTo>
                    <a:pt x="691045" y="0"/>
                  </a:lnTo>
                  <a:lnTo>
                    <a:pt x="706639" y="0"/>
                  </a:lnTo>
                  <a:lnTo>
                    <a:pt x="709172" y="0"/>
                  </a:lnTo>
                  <a:lnTo>
                    <a:pt x="728032" y="0"/>
                  </a:lnTo>
                  <a:lnTo>
                    <a:pt x="740633" y="0"/>
                  </a:lnTo>
                  <a:lnTo>
                    <a:pt x="742742" y="0"/>
                  </a:lnTo>
                  <a:lnTo>
                    <a:pt x="760869" y="0"/>
                  </a:lnTo>
                  <a:lnTo>
                    <a:pt x="760880" y="0"/>
                  </a:lnTo>
                  <a:lnTo>
                    <a:pt x="779728" y="0"/>
                  </a:lnTo>
                  <a:lnTo>
                    <a:pt x="779740" y="0"/>
                  </a:lnTo>
                  <a:lnTo>
                    <a:pt x="797867" y="0"/>
                  </a:lnTo>
                  <a:lnTo>
                    <a:pt x="799975" y="0"/>
                  </a:lnTo>
                  <a:lnTo>
                    <a:pt x="812577" y="0"/>
                  </a:lnTo>
                  <a:lnTo>
                    <a:pt x="831436" y="0"/>
                  </a:lnTo>
                  <a:lnTo>
                    <a:pt x="833970" y="0"/>
                  </a:lnTo>
                  <a:lnTo>
                    <a:pt x="849563" y="0"/>
                  </a:lnTo>
                  <a:lnTo>
                    <a:pt x="851672" y="0"/>
                  </a:lnTo>
                  <a:lnTo>
                    <a:pt x="851683" y="0"/>
                  </a:lnTo>
                  <a:lnTo>
                    <a:pt x="869810" y="0"/>
                  </a:lnTo>
                  <a:lnTo>
                    <a:pt x="885666" y="0"/>
                  </a:lnTo>
                  <a:lnTo>
                    <a:pt x="903380" y="0"/>
                  </a:lnTo>
                  <a:lnTo>
                    <a:pt x="905913" y="0"/>
                  </a:lnTo>
                  <a:lnTo>
                    <a:pt x="921507" y="0"/>
                  </a:lnTo>
                  <a:lnTo>
                    <a:pt x="924773" y="0"/>
                  </a:lnTo>
                  <a:lnTo>
                    <a:pt x="942900" y="0"/>
                  </a:lnTo>
                  <a:lnTo>
                    <a:pt x="957610" y="0"/>
                  </a:lnTo>
                  <a:lnTo>
                    <a:pt x="976469" y="0"/>
                  </a:lnTo>
                  <a:lnTo>
                    <a:pt x="994596" y="0"/>
                  </a:lnTo>
                  <a:lnTo>
                    <a:pt x="994608" y="0"/>
                  </a:lnTo>
                  <a:lnTo>
                    <a:pt x="996716" y="0"/>
                  </a:lnTo>
                  <a:lnTo>
                    <a:pt x="1014843" y="0"/>
                  </a:lnTo>
                  <a:lnTo>
                    <a:pt x="1046304" y="0"/>
                  </a:lnTo>
                  <a:lnTo>
                    <a:pt x="1048413" y="0"/>
                  </a:lnTo>
                  <a:lnTo>
                    <a:pt x="1066540" y="0"/>
                  </a:lnTo>
                  <a:lnTo>
                    <a:pt x="1066551" y="0"/>
                  </a:lnTo>
                  <a:lnTo>
                    <a:pt x="1118248" y="0"/>
                  </a:lnTo>
                  <a:lnTo>
                    <a:pt x="1139641" y="0"/>
                  </a:lnTo>
                  <a:lnTo>
                    <a:pt x="1191337" y="0"/>
                  </a:lnTo>
                  <a:lnTo>
                    <a:pt x="1211584" y="0"/>
                  </a:lnTo>
                  <a:lnTo>
                    <a:pt x="1263281" y="0"/>
                  </a:lnTo>
                  <a:cubicBezTo>
                    <a:pt x="1416445" y="0"/>
                    <a:pt x="1540608" y="124164"/>
                    <a:pt x="1540608" y="277328"/>
                  </a:cubicBezTo>
                  <a:lnTo>
                    <a:pt x="1540607" y="277328"/>
                  </a:lnTo>
                  <a:cubicBezTo>
                    <a:pt x="1540607" y="430492"/>
                    <a:pt x="1416444" y="554655"/>
                    <a:pt x="1263280" y="554655"/>
                  </a:cubicBezTo>
                  <a:lnTo>
                    <a:pt x="1211586" y="554655"/>
                  </a:lnTo>
                  <a:lnTo>
                    <a:pt x="1211583" y="554655"/>
                  </a:lnTo>
                  <a:lnTo>
                    <a:pt x="1191337" y="554655"/>
                  </a:lnTo>
                  <a:lnTo>
                    <a:pt x="1191336" y="554655"/>
                  </a:lnTo>
                  <a:lnTo>
                    <a:pt x="1139643" y="554655"/>
                  </a:lnTo>
                  <a:lnTo>
                    <a:pt x="1139640" y="554655"/>
                  </a:lnTo>
                  <a:lnTo>
                    <a:pt x="1118248" y="554655"/>
                  </a:lnTo>
                  <a:lnTo>
                    <a:pt x="1118247" y="554655"/>
                  </a:lnTo>
                  <a:lnTo>
                    <a:pt x="1066553" y="554655"/>
                  </a:lnTo>
                  <a:lnTo>
                    <a:pt x="1066550" y="554655"/>
                  </a:lnTo>
                  <a:lnTo>
                    <a:pt x="1066539" y="554655"/>
                  </a:lnTo>
                  <a:lnTo>
                    <a:pt x="1046304" y="554655"/>
                  </a:lnTo>
                  <a:lnTo>
                    <a:pt x="1046303" y="554655"/>
                  </a:lnTo>
                  <a:lnTo>
                    <a:pt x="1014845" y="554655"/>
                  </a:lnTo>
                  <a:lnTo>
                    <a:pt x="1014842" y="554655"/>
                  </a:lnTo>
                  <a:lnTo>
                    <a:pt x="994609" y="554655"/>
                  </a:lnTo>
                  <a:lnTo>
                    <a:pt x="994607" y="554655"/>
                  </a:lnTo>
                  <a:lnTo>
                    <a:pt x="994596" y="554655"/>
                  </a:lnTo>
                  <a:lnTo>
                    <a:pt x="994595" y="554655"/>
                  </a:lnTo>
                  <a:lnTo>
                    <a:pt x="957609" y="554655"/>
                  </a:lnTo>
                  <a:lnTo>
                    <a:pt x="942902" y="554655"/>
                  </a:lnTo>
                  <a:lnTo>
                    <a:pt x="942899" y="554655"/>
                  </a:lnTo>
                  <a:lnTo>
                    <a:pt x="921507" y="554655"/>
                  </a:lnTo>
                  <a:lnTo>
                    <a:pt x="921506" y="554655"/>
                  </a:lnTo>
                  <a:lnTo>
                    <a:pt x="905915" y="554655"/>
                  </a:lnTo>
                  <a:lnTo>
                    <a:pt x="905912" y="554655"/>
                  </a:lnTo>
                  <a:lnTo>
                    <a:pt x="885666" y="554655"/>
                  </a:lnTo>
                  <a:lnTo>
                    <a:pt x="885665" y="554655"/>
                  </a:lnTo>
                  <a:lnTo>
                    <a:pt x="869812" y="554655"/>
                  </a:lnTo>
                  <a:lnTo>
                    <a:pt x="869809" y="554655"/>
                  </a:lnTo>
                  <a:lnTo>
                    <a:pt x="849563" y="554655"/>
                  </a:lnTo>
                  <a:lnTo>
                    <a:pt x="849562" y="554655"/>
                  </a:lnTo>
                  <a:lnTo>
                    <a:pt x="833972" y="554655"/>
                  </a:lnTo>
                  <a:lnTo>
                    <a:pt x="833969" y="554655"/>
                  </a:lnTo>
                  <a:lnTo>
                    <a:pt x="812577" y="554655"/>
                  </a:lnTo>
                  <a:lnTo>
                    <a:pt x="812576" y="554655"/>
                  </a:lnTo>
                  <a:lnTo>
                    <a:pt x="797868" y="554655"/>
                  </a:lnTo>
                  <a:lnTo>
                    <a:pt x="797866" y="554655"/>
                  </a:lnTo>
                  <a:lnTo>
                    <a:pt x="760882" y="554655"/>
                  </a:lnTo>
                  <a:lnTo>
                    <a:pt x="760879" y="554655"/>
                  </a:lnTo>
                  <a:lnTo>
                    <a:pt x="760868" y="554655"/>
                  </a:lnTo>
                  <a:lnTo>
                    <a:pt x="740633" y="554655"/>
                  </a:lnTo>
                  <a:lnTo>
                    <a:pt x="740632" y="554655"/>
                  </a:lnTo>
                  <a:lnTo>
                    <a:pt x="709174" y="554655"/>
                  </a:lnTo>
                  <a:lnTo>
                    <a:pt x="709171" y="554655"/>
                  </a:lnTo>
                  <a:lnTo>
                    <a:pt x="688938" y="554655"/>
                  </a:lnTo>
                  <a:lnTo>
                    <a:pt x="688936" y="554655"/>
                  </a:lnTo>
                  <a:lnTo>
                    <a:pt x="688925" y="554655"/>
                  </a:lnTo>
                  <a:lnTo>
                    <a:pt x="688924" y="554655"/>
                  </a:lnTo>
                  <a:lnTo>
                    <a:pt x="637231" y="554655"/>
                  </a:lnTo>
                  <a:lnTo>
                    <a:pt x="637228" y="554655"/>
                  </a:lnTo>
                  <a:lnTo>
                    <a:pt x="615836" y="554655"/>
                  </a:lnTo>
                  <a:lnTo>
                    <a:pt x="615835" y="554655"/>
                  </a:lnTo>
                  <a:lnTo>
                    <a:pt x="564141" y="554655"/>
                  </a:lnTo>
                  <a:lnTo>
                    <a:pt x="564138" y="554655"/>
                  </a:lnTo>
                  <a:lnTo>
                    <a:pt x="543892" y="554655"/>
                  </a:lnTo>
                  <a:lnTo>
                    <a:pt x="543891" y="554655"/>
                  </a:lnTo>
                  <a:lnTo>
                    <a:pt x="492197" y="554655"/>
                  </a:lnTo>
                  <a:lnTo>
                    <a:pt x="492195" y="554655"/>
                  </a:lnTo>
                  <a:lnTo>
                    <a:pt x="277328" y="554654"/>
                  </a:lnTo>
                  <a:cubicBezTo>
                    <a:pt x="143309" y="554654"/>
                    <a:pt x="31494" y="459591"/>
                    <a:pt x="5634" y="333218"/>
                  </a:cubicBezTo>
                  <a:lnTo>
                    <a:pt x="0" y="277328"/>
                  </a:lnTo>
                  <a:lnTo>
                    <a:pt x="5634" y="221437"/>
                  </a:lnTo>
                  <a:cubicBezTo>
                    <a:pt x="31494" y="95063"/>
                    <a:pt x="143309" y="0"/>
                    <a:pt x="277328" y="0"/>
                  </a:cubicBezTo>
                  <a:close/>
                </a:path>
              </a:pathLst>
            </a:cu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grpSp>
          <p:nvGrpSpPr>
            <p:cNvPr id="8" name="Группа 7"/>
            <p:cNvGrpSpPr/>
            <p:nvPr/>
          </p:nvGrpSpPr>
          <p:grpSpPr>
            <a:xfrm>
              <a:off x="10269652" y="5115112"/>
              <a:ext cx="1460435" cy="554655"/>
              <a:chOff x="9263056" y="5647659"/>
              <a:chExt cx="1460435" cy="554655"/>
            </a:xfrm>
          </p:grpSpPr>
          <p:pic>
            <p:nvPicPr>
              <p:cNvPr id="31" name="Picture 6" descr="https://cs8.pikabu.ru/post_img/big/2018/10/12/6/153933384611836260.png"/>
              <p:cNvPicPr>
                <a:picLocks noChangeAspect="1" noChangeArrowheads="1"/>
              </p:cNvPicPr>
              <p:nvPr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55453" t="14032" r="6586" b="36396"/>
              <a:stretch/>
            </p:blipFill>
            <p:spPr bwMode="auto">
              <a:xfrm>
                <a:off x="9405100" y="5648875"/>
                <a:ext cx="1193437" cy="46364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2" name="Полилиния 81"/>
              <p:cNvSpPr/>
              <p:nvPr/>
            </p:nvSpPr>
            <p:spPr>
              <a:xfrm>
                <a:off x="9263056" y="5647659"/>
                <a:ext cx="1460435" cy="554655"/>
              </a:xfrm>
              <a:custGeom>
                <a:avLst/>
                <a:gdLst>
                  <a:gd name="connsiteX0" fmla="*/ 277328 w 1460435"/>
                  <a:gd name="connsiteY0" fmla="*/ 0 h 554655"/>
                  <a:gd name="connsiteX1" fmla="*/ 320795 w 1460435"/>
                  <a:gd name="connsiteY1" fmla="*/ 0 h 554655"/>
                  <a:gd name="connsiteX2" fmla="*/ 329024 w 1460435"/>
                  <a:gd name="connsiteY2" fmla="*/ 0 h 554655"/>
                  <a:gd name="connsiteX3" fmla="*/ 342188 w 1460435"/>
                  <a:gd name="connsiteY3" fmla="*/ 0 h 554655"/>
                  <a:gd name="connsiteX4" fmla="*/ 349271 w 1460435"/>
                  <a:gd name="connsiteY4" fmla="*/ 0 h 554655"/>
                  <a:gd name="connsiteX5" fmla="*/ 393884 w 1460435"/>
                  <a:gd name="connsiteY5" fmla="*/ 0 h 554655"/>
                  <a:gd name="connsiteX6" fmla="*/ 393896 w 1460435"/>
                  <a:gd name="connsiteY6" fmla="*/ 0 h 554655"/>
                  <a:gd name="connsiteX7" fmla="*/ 400968 w 1460435"/>
                  <a:gd name="connsiteY7" fmla="*/ 0 h 554655"/>
                  <a:gd name="connsiteX8" fmla="*/ 412023 w 1460435"/>
                  <a:gd name="connsiteY8" fmla="*/ 0 h 554655"/>
                  <a:gd name="connsiteX9" fmla="*/ 414131 w 1460435"/>
                  <a:gd name="connsiteY9" fmla="*/ 0 h 554655"/>
                  <a:gd name="connsiteX10" fmla="*/ 422361 w 1460435"/>
                  <a:gd name="connsiteY10" fmla="*/ 0 h 554655"/>
                  <a:gd name="connsiteX11" fmla="*/ 445592 w 1460435"/>
                  <a:gd name="connsiteY11" fmla="*/ 0 h 554655"/>
                  <a:gd name="connsiteX12" fmla="*/ 463719 w 1460435"/>
                  <a:gd name="connsiteY12" fmla="*/ 0 h 554655"/>
                  <a:gd name="connsiteX13" fmla="*/ 465828 w 1460435"/>
                  <a:gd name="connsiteY13" fmla="*/ 0 h 554655"/>
                  <a:gd name="connsiteX14" fmla="*/ 465839 w 1460435"/>
                  <a:gd name="connsiteY14" fmla="*/ 0 h 554655"/>
                  <a:gd name="connsiteX15" fmla="*/ 474057 w 1460435"/>
                  <a:gd name="connsiteY15" fmla="*/ 0 h 554655"/>
                  <a:gd name="connsiteX16" fmla="*/ 474069 w 1460435"/>
                  <a:gd name="connsiteY16" fmla="*/ 0 h 554655"/>
                  <a:gd name="connsiteX17" fmla="*/ 483966 w 1460435"/>
                  <a:gd name="connsiteY17" fmla="*/ 0 h 554655"/>
                  <a:gd name="connsiteX18" fmla="*/ 492196 w 1460435"/>
                  <a:gd name="connsiteY18" fmla="*/ 0 h 554655"/>
                  <a:gd name="connsiteX19" fmla="*/ 494304 w 1460435"/>
                  <a:gd name="connsiteY19" fmla="*/ 0 h 554655"/>
                  <a:gd name="connsiteX20" fmla="*/ 502826 w 1460435"/>
                  <a:gd name="connsiteY20" fmla="*/ 0 h 554655"/>
                  <a:gd name="connsiteX21" fmla="*/ 517536 w 1460435"/>
                  <a:gd name="connsiteY21" fmla="*/ 0 h 554655"/>
                  <a:gd name="connsiteX22" fmla="*/ 525765 w 1460435"/>
                  <a:gd name="connsiteY22" fmla="*/ 0 h 554655"/>
                  <a:gd name="connsiteX23" fmla="*/ 535663 w 1460435"/>
                  <a:gd name="connsiteY23" fmla="*/ 0 h 554655"/>
                  <a:gd name="connsiteX24" fmla="*/ 538929 w 1460435"/>
                  <a:gd name="connsiteY24" fmla="*/ 0 h 554655"/>
                  <a:gd name="connsiteX25" fmla="*/ 543892 w 1460435"/>
                  <a:gd name="connsiteY25" fmla="*/ 0 h 554655"/>
                  <a:gd name="connsiteX26" fmla="*/ 546001 w 1460435"/>
                  <a:gd name="connsiteY26" fmla="*/ 0 h 554655"/>
                  <a:gd name="connsiteX27" fmla="*/ 546012 w 1460435"/>
                  <a:gd name="connsiteY27" fmla="*/ 0 h 554655"/>
                  <a:gd name="connsiteX28" fmla="*/ 554522 w 1460435"/>
                  <a:gd name="connsiteY28" fmla="*/ 0 h 554655"/>
                  <a:gd name="connsiteX29" fmla="*/ 557056 w 1460435"/>
                  <a:gd name="connsiteY29" fmla="*/ 0 h 554655"/>
                  <a:gd name="connsiteX30" fmla="*/ 564139 w 1460435"/>
                  <a:gd name="connsiteY30" fmla="*/ 0 h 554655"/>
                  <a:gd name="connsiteX31" fmla="*/ 574769 w 1460435"/>
                  <a:gd name="connsiteY31" fmla="*/ 0 h 554655"/>
                  <a:gd name="connsiteX32" fmla="*/ 582999 w 1460435"/>
                  <a:gd name="connsiteY32" fmla="*/ 0 h 554655"/>
                  <a:gd name="connsiteX33" fmla="*/ 590625 w 1460435"/>
                  <a:gd name="connsiteY33" fmla="*/ 0 h 554655"/>
                  <a:gd name="connsiteX34" fmla="*/ 597709 w 1460435"/>
                  <a:gd name="connsiteY34" fmla="*/ 0 h 554655"/>
                  <a:gd name="connsiteX35" fmla="*/ 608752 w 1460435"/>
                  <a:gd name="connsiteY35" fmla="*/ 0 h 554655"/>
                  <a:gd name="connsiteX36" fmla="*/ 608764 w 1460435"/>
                  <a:gd name="connsiteY36" fmla="*/ 0 h 554655"/>
                  <a:gd name="connsiteX37" fmla="*/ 610872 w 1460435"/>
                  <a:gd name="connsiteY37" fmla="*/ 0 h 554655"/>
                  <a:gd name="connsiteX38" fmla="*/ 615836 w 1460435"/>
                  <a:gd name="connsiteY38" fmla="*/ 0 h 554655"/>
                  <a:gd name="connsiteX39" fmla="*/ 619102 w 1460435"/>
                  <a:gd name="connsiteY39" fmla="*/ 0 h 554655"/>
                  <a:gd name="connsiteX40" fmla="*/ 626466 w 1460435"/>
                  <a:gd name="connsiteY40" fmla="*/ 0 h 554655"/>
                  <a:gd name="connsiteX41" fmla="*/ 628999 w 1460435"/>
                  <a:gd name="connsiteY41" fmla="*/ 0 h 554655"/>
                  <a:gd name="connsiteX42" fmla="*/ 634695 w 1460435"/>
                  <a:gd name="connsiteY42" fmla="*/ 0 h 554655"/>
                  <a:gd name="connsiteX43" fmla="*/ 637229 w 1460435"/>
                  <a:gd name="connsiteY43" fmla="*/ 0 h 554655"/>
                  <a:gd name="connsiteX44" fmla="*/ 647859 w 1460435"/>
                  <a:gd name="connsiteY44" fmla="*/ 0 h 554655"/>
                  <a:gd name="connsiteX45" fmla="*/ 654942 w 1460435"/>
                  <a:gd name="connsiteY45" fmla="*/ 0 h 554655"/>
                  <a:gd name="connsiteX46" fmla="*/ 660460 w 1460435"/>
                  <a:gd name="connsiteY46" fmla="*/ 0 h 554655"/>
                  <a:gd name="connsiteX47" fmla="*/ 662569 w 1460435"/>
                  <a:gd name="connsiteY47" fmla="*/ 0 h 554655"/>
                  <a:gd name="connsiteX48" fmla="*/ 670798 w 1460435"/>
                  <a:gd name="connsiteY48" fmla="*/ 0 h 554655"/>
                  <a:gd name="connsiteX49" fmla="*/ 680696 w 1460435"/>
                  <a:gd name="connsiteY49" fmla="*/ 0 h 554655"/>
                  <a:gd name="connsiteX50" fmla="*/ 680707 w 1460435"/>
                  <a:gd name="connsiteY50" fmla="*/ 0 h 554655"/>
                  <a:gd name="connsiteX51" fmla="*/ 688925 w 1460435"/>
                  <a:gd name="connsiteY51" fmla="*/ 0 h 554655"/>
                  <a:gd name="connsiteX52" fmla="*/ 688937 w 1460435"/>
                  <a:gd name="connsiteY52" fmla="*/ 0 h 554655"/>
                  <a:gd name="connsiteX53" fmla="*/ 691045 w 1460435"/>
                  <a:gd name="connsiteY53" fmla="*/ 0 h 554655"/>
                  <a:gd name="connsiteX54" fmla="*/ 699555 w 1460435"/>
                  <a:gd name="connsiteY54" fmla="*/ 0 h 554655"/>
                  <a:gd name="connsiteX55" fmla="*/ 699567 w 1460435"/>
                  <a:gd name="connsiteY55" fmla="*/ 0 h 554655"/>
                  <a:gd name="connsiteX56" fmla="*/ 706639 w 1460435"/>
                  <a:gd name="connsiteY56" fmla="*/ 0 h 554655"/>
                  <a:gd name="connsiteX57" fmla="*/ 709172 w 1460435"/>
                  <a:gd name="connsiteY57" fmla="*/ 0 h 554655"/>
                  <a:gd name="connsiteX58" fmla="*/ 717694 w 1460435"/>
                  <a:gd name="connsiteY58" fmla="*/ 0 h 554655"/>
                  <a:gd name="connsiteX59" fmla="*/ 719802 w 1460435"/>
                  <a:gd name="connsiteY59" fmla="*/ 0 h 554655"/>
                  <a:gd name="connsiteX60" fmla="*/ 728032 w 1460435"/>
                  <a:gd name="connsiteY60" fmla="*/ 0 h 554655"/>
                  <a:gd name="connsiteX61" fmla="*/ 732404 w 1460435"/>
                  <a:gd name="connsiteY61" fmla="*/ 0 h 554655"/>
                  <a:gd name="connsiteX62" fmla="*/ 740633 w 1460435"/>
                  <a:gd name="connsiteY62" fmla="*/ 0 h 554655"/>
                  <a:gd name="connsiteX63" fmla="*/ 742742 w 1460435"/>
                  <a:gd name="connsiteY63" fmla="*/ 0 h 554655"/>
                  <a:gd name="connsiteX64" fmla="*/ 751263 w 1460435"/>
                  <a:gd name="connsiteY64" fmla="*/ 0 h 554655"/>
                  <a:gd name="connsiteX65" fmla="*/ 753797 w 1460435"/>
                  <a:gd name="connsiteY65" fmla="*/ 0 h 554655"/>
                  <a:gd name="connsiteX66" fmla="*/ 760869 w 1460435"/>
                  <a:gd name="connsiteY66" fmla="*/ 0 h 554655"/>
                  <a:gd name="connsiteX67" fmla="*/ 760880 w 1460435"/>
                  <a:gd name="connsiteY67" fmla="*/ 0 h 554655"/>
                  <a:gd name="connsiteX68" fmla="*/ 769390 w 1460435"/>
                  <a:gd name="connsiteY68" fmla="*/ 0 h 554655"/>
                  <a:gd name="connsiteX69" fmla="*/ 771499 w 1460435"/>
                  <a:gd name="connsiteY69" fmla="*/ 0 h 554655"/>
                  <a:gd name="connsiteX70" fmla="*/ 771510 w 1460435"/>
                  <a:gd name="connsiteY70" fmla="*/ 0 h 554655"/>
                  <a:gd name="connsiteX71" fmla="*/ 779728 w 1460435"/>
                  <a:gd name="connsiteY71" fmla="*/ 0 h 554655"/>
                  <a:gd name="connsiteX72" fmla="*/ 779740 w 1460435"/>
                  <a:gd name="connsiteY72" fmla="*/ 0 h 554655"/>
                  <a:gd name="connsiteX73" fmla="*/ 789637 w 1460435"/>
                  <a:gd name="connsiteY73" fmla="*/ 0 h 554655"/>
                  <a:gd name="connsiteX74" fmla="*/ 797867 w 1460435"/>
                  <a:gd name="connsiteY74" fmla="*/ 0 h 554655"/>
                  <a:gd name="connsiteX75" fmla="*/ 799975 w 1460435"/>
                  <a:gd name="connsiteY75" fmla="*/ 0 h 554655"/>
                  <a:gd name="connsiteX76" fmla="*/ 805493 w 1460435"/>
                  <a:gd name="connsiteY76" fmla="*/ 0 h 554655"/>
                  <a:gd name="connsiteX77" fmla="*/ 812577 w 1460435"/>
                  <a:gd name="connsiteY77" fmla="*/ 0 h 554655"/>
                  <a:gd name="connsiteX78" fmla="*/ 823207 w 1460435"/>
                  <a:gd name="connsiteY78" fmla="*/ 0 h 554655"/>
                  <a:gd name="connsiteX79" fmla="*/ 825740 w 1460435"/>
                  <a:gd name="connsiteY79" fmla="*/ 0 h 554655"/>
                  <a:gd name="connsiteX80" fmla="*/ 831436 w 1460435"/>
                  <a:gd name="connsiteY80" fmla="*/ 0 h 554655"/>
                  <a:gd name="connsiteX81" fmla="*/ 833970 w 1460435"/>
                  <a:gd name="connsiteY81" fmla="*/ 0 h 554655"/>
                  <a:gd name="connsiteX82" fmla="*/ 841334 w 1460435"/>
                  <a:gd name="connsiteY82" fmla="*/ 0 h 554655"/>
                  <a:gd name="connsiteX83" fmla="*/ 844600 w 1460435"/>
                  <a:gd name="connsiteY83" fmla="*/ 0 h 554655"/>
                  <a:gd name="connsiteX84" fmla="*/ 849563 w 1460435"/>
                  <a:gd name="connsiteY84" fmla="*/ 0 h 554655"/>
                  <a:gd name="connsiteX85" fmla="*/ 851672 w 1460435"/>
                  <a:gd name="connsiteY85" fmla="*/ 0 h 554655"/>
                  <a:gd name="connsiteX86" fmla="*/ 851683 w 1460435"/>
                  <a:gd name="connsiteY86" fmla="*/ 0 h 554655"/>
                  <a:gd name="connsiteX87" fmla="*/ 862727 w 1460435"/>
                  <a:gd name="connsiteY87" fmla="*/ 0 h 554655"/>
                  <a:gd name="connsiteX88" fmla="*/ 869810 w 1460435"/>
                  <a:gd name="connsiteY88" fmla="*/ 0 h 554655"/>
                  <a:gd name="connsiteX89" fmla="*/ 877437 w 1460435"/>
                  <a:gd name="connsiteY89" fmla="*/ 0 h 554655"/>
                  <a:gd name="connsiteX90" fmla="*/ 885666 w 1460435"/>
                  <a:gd name="connsiteY90" fmla="*/ 0 h 554655"/>
                  <a:gd name="connsiteX91" fmla="*/ 896296 w 1460435"/>
                  <a:gd name="connsiteY91" fmla="*/ 0 h 554655"/>
                  <a:gd name="connsiteX92" fmla="*/ 903380 w 1460435"/>
                  <a:gd name="connsiteY92" fmla="*/ 0 h 554655"/>
                  <a:gd name="connsiteX93" fmla="*/ 905913 w 1460435"/>
                  <a:gd name="connsiteY93" fmla="*/ 0 h 554655"/>
                  <a:gd name="connsiteX94" fmla="*/ 914423 w 1460435"/>
                  <a:gd name="connsiteY94" fmla="*/ 0 h 554655"/>
                  <a:gd name="connsiteX95" fmla="*/ 914435 w 1460435"/>
                  <a:gd name="connsiteY95" fmla="*/ 0 h 554655"/>
                  <a:gd name="connsiteX96" fmla="*/ 916543 w 1460435"/>
                  <a:gd name="connsiteY96" fmla="*/ 0 h 554655"/>
                  <a:gd name="connsiteX97" fmla="*/ 921507 w 1460435"/>
                  <a:gd name="connsiteY97" fmla="*/ 0 h 554655"/>
                  <a:gd name="connsiteX98" fmla="*/ 924773 w 1460435"/>
                  <a:gd name="connsiteY98" fmla="*/ 0 h 554655"/>
                  <a:gd name="connsiteX99" fmla="*/ 934670 w 1460435"/>
                  <a:gd name="connsiteY99" fmla="*/ 0 h 554655"/>
                  <a:gd name="connsiteX100" fmla="*/ 942900 w 1460435"/>
                  <a:gd name="connsiteY100" fmla="*/ 0 h 554655"/>
                  <a:gd name="connsiteX101" fmla="*/ 957610 w 1460435"/>
                  <a:gd name="connsiteY101" fmla="*/ 0 h 554655"/>
                  <a:gd name="connsiteX102" fmla="*/ 966131 w 1460435"/>
                  <a:gd name="connsiteY102" fmla="*/ 0 h 554655"/>
                  <a:gd name="connsiteX103" fmla="*/ 968240 w 1460435"/>
                  <a:gd name="connsiteY103" fmla="*/ 0 h 554655"/>
                  <a:gd name="connsiteX104" fmla="*/ 976469 w 1460435"/>
                  <a:gd name="connsiteY104" fmla="*/ 0 h 554655"/>
                  <a:gd name="connsiteX105" fmla="*/ 986367 w 1460435"/>
                  <a:gd name="connsiteY105" fmla="*/ 0 h 554655"/>
                  <a:gd name="connsiteX106" fmla="*/ 986378 w 1460435"/>
                  <a:gd name="connsiteY106" fmla="*/ 0 h 554655"/>
                  <a:gd name="connsiteX107" fmla="*/ 994596 w 1460435"/>
                  <a:gd name="connsiteY107" fmla="*/ 0 h 554655"/>
                  <a:gd name="connsiteX108" fmla="*/ 994608 w 1460435"/>
                  <a:gd name="connsiteY108" fmla="*/ 0 h 554655"/>
                  <a:gd name="connsiteX109" fmla="*/ 996716 w 1460435"/>
                  <a:gd name="connsiteY109" fmla="*/ 0 h 554655"/>
                  <a:gd name="connsiteX110" fmla="*/ 1014843 w 1460435"/>
                  <a:gd name="connsiteY110" fmla="*/ 0 h 554655"/>
                  <a:gd name="connsiteX111" fmla="*/ 1038075 w 1460435"/>
                  <a:gd name="connsiteY111" fmla="*/ 0 h 554655"/>
                  <a:gd name="connsiteX112" fmla="*/ 1046304 w 1460435"/>
                  <a:gd name="connsiteY112" fmla="*/ 0 h 554655"/>
                  <a:gd name="connsiteX113" fmla="*/ 1048413 w 1460435"/>
                  <a:gd name="connsiteY113" fmla="*/ 0 h 554655"/>
                  <a:gd name="connsiteX114" fmla="*/ 1059468 w 1460435"/>
                  <a:gd name="connsiteY114" fmla="*/ 0 h 554655"/>
                  <a:gd name="connsiteX115" fmla="*/ 1066540 w 1460435"/>
                  <a:gd name="connsiteY115" fmla="*/ 0 h 554655"/>
                  <a:gd name="connsiteX116" fmla="*/ 1066551 w 1460435"/>
                  <a:gd name="connsiteY116" fmla="*/ 0 h 554655"/>
                  <a:gd name="connsiteX117" fmla="*/ 1111164 w 1460435"/>
                  <a:gd name="connsiteY117" fmla="*/ 0 h 554655"/>
                  <a:gd name="connsiteX118" fmla="*/ 1118248 w 1460435"/>
                  <a:gd name="connsiteY118" fmla="*/ 0 h 554655"/>
                  <a:gd name="connsiteX119" fmla="*/ 1131411 w 1460435"/>
                  <a:gd name="connsiteY119" fmla="*/ 0 h 554655"/>
                  <a:gd name="connsiteX120" fmla="*/ 1139641 w 1460435"/>
                  <a:gd name="connsiteY120" fmla="*/ 0 h 554655"/>
                  <a:gd name="connsiteX121" fmla="*/ 1183108 w 1460435"/>
                  <a:gd name="connsiteY121" fmla="*/ 0 h 554655"/>
                  <a:gd name="connsiteX122" fmla="*/ 1460435 w 1460435"/>
                  <a:gd name="connsiteY122" fmla="*/ 277328 h 554655"/>
                  <a:gd name="connsiteX123" fmla="*/ 1460434 w 1460435"/>
                  <a:gd name="connsiteY123" fmla="*/ 277328 h 554655"/>
                  <a:gd name="connsiteX124" fmla="*/ 1183107 w 1460435"/>
                  <a:gd name="connsiteY124" fmla="*/ 554655 h 554655"/>
                  <a:gd name="connsiteX125" fmla="*/ 1139643 w 1460435"/>
                  <a:gd name="connsiteY125" fmla="*/ 554655 h 554655"/>
                  <a:gd name="connsiteX126" fmla="*/ 1139640 w 1460435"/>
                  <a:gd name="connsiteY126" fmla="*/ 554655 h 554655"/>
                  <a:gd name="connsiteX127" fmla="*/ 1131413 w 1460435"/>
                  <a:gd name="connsiteY127" fmla="*/ 554655 h 554655"/>
                  <a:gd name="connsiteX128" fmla="*/ 1131410 w 1460435"/>
                  <a:gd name="connsiteY128" fmla="*/ 554655 h 554655"/>
                  <a:gd name="connsiteX129" fmla="*/ 1118248 w 1460435"/>
                  <a:gd name="connsiteY129" fmla="*/ 554655 h 554655"/>
                  <a:gd name="connsiteX130" fmla="*/ 1118247 w 1460435"/>
                  <a:gd name="connsiteY130" fmla="*/ 554655 h 554655"/>
                  <a:gd name="connsiteX131" fmla="*/ 1111164 w 1460435"/>
                  <a:gd name="connsiteY131" fmla="*/ 554655 h 554655"/>
                  <a:gd name="connsiteX132" fmla="*/ 1111163 w 1460435"/>
                  <a:gd name="connsiteY132" fmla="*/ 554655 h 554655"/>
                  <a:gd name="connsiteX133" fmla="*/ 1066553 w 1460435"/>
                  <a:gd name="connsiteY133" fmla="*/ 554655 h 554655"/>
                  <a:gd name="connsiteX134" fmla="*/ 1066550 w 1460435"/>
                  <a:gd name="connsiteY134" fmla="*/ 554655 h 554655"/>
                  <a:gd name="connsiteX135" fmla="*/ 1066539 w 1460435"/>
                  <a:gd name="connsiteY135" fmla="*/ 554655 h 554655"/>
                  <a:gd name="connsiteX136" fmla="*/ 1059470 w 1460435"/>
                  <a:gd name="connsiteY136" fmla="*/ 554655 h 554655"/>
                  <a:gd name="connsiteX137" fmla="*/ 1059467 w 1460435"/>
                  <a:gd name="connsiteY137" fmla="*/ 554655 h 554655"/>
                  <a:gd name="connsiteX138" fmla="*/ 1046304 w 1460435"/>
                  <a:gd name="connsiteY138" fmla="*/ 554655 h 554655"/>
                  <a:gd name="connsiteX139" fmla="*/ 1046303 w 1460435"/>
                  <a:gd name="connsiteY139" fmla="*/ 554655 h 554655"/>
                  <a:gd name="connsiteX140" fmla="*/ 1038075 w 1460435"/>
                  <a:gd name="connsiteY140" fmla="*/ 554655 h 554655"/>
                  <a:gd name="connsiteX141" fmla="*/ 1038074 w 1460435"/>
                  <a:gd name="connsiteY141" fmla="*/ 554655 h 554655"/>
                  <a:gd name="connsiteX142" fmla="*/ 1014845 w 1460435"/>
                  <a:gd name="connsiteY142" fmla="*/ 554655 h 554655"/>
                  <a:gd name="connsiteX143" fmla="*/ 1014842 w 1460435"/>
                  <a:gd name="connsiteY143" fmla="*/ 554655 h 554655"/>
                  <a:gd name="connsiteX144" fmla="*/ 994609 w 1460435"/>
                  <a:gd name="connsiteY144" fmla="*/ 554655 h 554655"/>
                  <a:gd name="connsiteX145" fmla="*/ 994607 w 1460435"/>
                  <a:gd name="connsiteY145" fmla="*/ 554655 h 554655"/>
                  <a:gd name="connsiteX146" fmla="*/ 994596 w 1460435"/>
                  <a:gd name="connsiteY146" fmla="*/ 554655 h 554655"/>
                  <a:gd name="connsiteX147" fmla="*/ 994595 w 1460435"/>
                  <a:gd name="connsiteY147" fmla="*/ 554655 h 554655"/>
                  <a:gd name="connsiteX148" fmla="*/ 986380 w 1460435"/>
                  <a:gd name="connsiteY148" fmla="*/ 554655 h 554655"/>
                  <a:gd name="connsiteX149" fmla="*/ 986377 w 1460435"/>
                  <a:gd name="connsiteY149" fmla="*/ 554655 h 554655"/>
                  <a:gd name="connsiteX150" fmla="*/ 986366 w 1460435"/>
                  <a:gd name="connsiteY150" fmla="*/ 554655 h 554655"/>
                  <a:gd name="connsiteX151" fmla="*/ 966131 w 1460435"/>
                  <a:gd name="connsiteY151" fmla="*/ 554655 h 554655"/>
                  <a:gd name="connsiteX152" fmla="*/ 966130 w 1460435"/>
                  <a:gd name="connsiteY152" fmla="*/ 554655 h 554655"/>
                  <a:gd name="connsiteX153" fmla="*/ 957609 w 1460435"/>
                  <a:gd name="connsiteY153" fmla="*/ 554655 h 554655"/>
                  <a:gd name="connsiteX154" fmla="*/ 942902 w 1460435"/>
                  <a:gd name="connsiteY154" fmla="*/ 554655 h 554655"/>
                  <a:gd name="connsiteX155" fmla="*/ 942899 w 1460435"/>
                  <a:gd name="connsiteY155" fmla="*/ 554655 h 554655"/>
                  <a:gd name="connsiteX156" fmla="*/ 934672 w 1460435"/>
                  <a:gd name="connsiteY156" fmla="*/ 554655 h 554655"/>
                  <a:gd name="connsiteX157" fmla="*/ 934669 w 1460435"/>
                  <a:gd name="connsiteY157" fmla="*/ 554655 h 554655"/>
                  <a:gd name="connsiteX158" fmla="*/ 921507 w 1460435"/>
                  <a:gd name="connsiteY158" fmla="*/ 554655 h 554655"/>
                  <a:gd name="connsiteX159" fmla="*/ 921506 w 1460435"/>
                  <a:gd name="connsiteY159" fmla="*/ 554655 h 554655"/>
                  <a:gd name="connsiteX160" fmla="*/ 914436 w 1460435"/>
                  <a:gd name="connsiteY160" fmla="*/ 554655 h 554655"/>
                  <a:gd name="connsiteX161" fmla="*/ 914434 w 1460435"/>
                  <a:gd name="connsiteY161" fmla="*/ 554655 h 554655"/>
                  <a:gd name="connsiteX162" fmla="*/ 914423 w 1460435"/>
                  <a:gd name="connsiteY162" fmla="*/ 554655 h 554655"/>
                  <a:gd name="connsiteX163" fmla="*/ 914422 w 1460435"/>
                  <a:gd name="connsiteY163" fmla="*/ 554655 h 554655"/>
                  <a:gd name="connsiteX164" fmla="*/ 905915 w 1460435"/>
                  <a:gd name="connsiteY164" fmla="*/ 554655 h 554655"/>
                  <a:gd name="connsiteX165" fmla="*/ 905912 w 1460435"/>
                  <a:gd name="connsiteY165" fmla="*/ 554655 h 554655"/>
                  <a:gd name="connsiteX166" fmla="*/ 885666 w 1460435"/>
                  <a:gd name="connsiteY166" fmla="*/ 554655 h 554655"/>
                  <a:gd name="connsiteX167" fmla="*/ 885665 w 1460435"/>
                  <a:gd name="connsiteY167" fmla="*/ 554655 h 554655"/>
                  <a:gd name="connsiteX168" fmla="*/ 877436 w 1460435"/>
                  <a:gd name="connsiteY168" fmla="*/ 554655 h 554655"/>
                  <a:gd name="connsiteX169" fmla="*/ 869812 w 1460435"/>
                  <a:gd name="connsiteY169" fmla="*/ 554655 h 554655"/>
                  <a:gd name="connsiteX170" fmla="*/ 869809 w 1460435"/>
                  <a:gd name="connsiteY170" fmla="*/ 554655 h 554655"/>
                  <a:gd name="connsiteX171" fmla="*/ 862729 w 1460435"/>
                  <a:gd name="connsiteY171" fmla="*/ 554655 h 554655"/>
                  <a:gd name="connsiteX172" fmla="*/ 862726 w 1460435"/>
                  <a:gd name="connsiteY172" fmla="*/ 554655 h 554655"/>
                  <a:gd name="connsiteX173" fmla="*/ 849563 w 1460435"/>
                  <a:gd name="connsiteY173" fmla="*/ 554655 h 554655"/>
                  <a:gd name="connsiteX174" fmla="*/ 849562 w 1460435"/>
                  <a:gd name="connsiteY174" fmla="*/ 554655 h 554655"/>
                  <a:gd name="connsiteX175" fmla="*/ 841334 w 1460435"/>
                  <a:gd name="connsiteY175" fmla="*/ 554655 h 554655"/>
                  <a:gd name="connsiteX176" fmla="*/ 841333 w 1460435"/>
                  <a:gd name="connsiteY176" fmla="*/ 554655 h 554655"/>
                  <a:gd name="connsiteX177" fmla="*/ 833972 w 1460435"/>
                  <a:gd name="connsiteY177" fmla="*/ 554655 h 554655"/>
                  <a:gd name="connsiteX178" fmla="*/ 833969 w 1460435"/>
                  <a:gd name="connsiteY178" fmla="*/ 554655 h 554655"/>
                  <a:gd name="connsiteX179" fmla="*/ 825742 w 1460435"/>
                  <a:gd name="connsiteY179" fmla="*/ 554655 h 554655"/>
                  <a:gd name="connsiteX180" fmla="*/ 825739 w 1460435"/>
                  <a:gd name="connsiteY180" fmla="*/ 554655 h 554655"/>
                  <a:gd name="connsiteX181" fmla="*/ 812577 w 1460435"/>
                  <a:gd name="connsiteY181" fmla="*/ 554655 h 554655"/>
                  <a:gd name="connsiteX182" fmla="*/ 812576 w 1460435"/>
                  <a:gd name="connsiteY182" fmla="*/ 554655 h 554655"/>
                  <a:gd name="connsiteX183" fmla="*/ 805493 w 1460435"/>
                  <a:gd name="connsiteY183" fmla="*/ 554655 h 554655"/>
                  <a:gd name="connsiteX184" fmla="*/ 805492 w 1460435"/>
                  <a:gd name="connsiteY184" fmla="*/ 554655 h 554655"/>
                  <a:gd name="connsiteX185" fmla="*/ 797868 w 1460435"/>
                  <a:gd name="connsiteY185" fmla="*/ 554655 h 554655"/>
                  <a:gd name="connsiteX186" fmla="*/ 797866 w 1460435"/>
                  <a:gd name="connsiteY186" fmla="*/ 554655 h 554655"/>
                  <a:gd name="connsiteX187" fmla="*/ 789639 w 1460435"/>
                  <a:gd name="connsiteY187" fmla="*/ 554655 h 554655"/>
                  <a:gd name="connsiteX188" fmla="*/ 789636 w 1460435"/>
                  <a:gd name="connsiteY188" fmla="*/ 554655 h 554655"/>
                  <a:gd name="connsiteX189" fmla="*/ 769390 w 1460435"/>
                  <a:gd name="connsiteY189" fmla="*/ 554655 h 554655"/>
                  <a:gd name="connsiteX190" fmla="*/ 769389 w 1460435"/>
                  <a:gd name="connsiteY190" fmla="*/ 554655 h 554655"/>
                  <a:gd name="connsiteX191" fmla="*/ 760882 w 1460435"/>
                  <a:gd name="connsiteY191" fmla="*/ 554655 h 554655"/>
                  <a:gd name="connsiteX192" fmla="*/ 760879 w 1460435"/>
                  <a:gd name="connsiteY192" fmla="*/ 554655 h 554655"/>
                  <a:gd name="connsiteX193" fmla="*/ 760868 w 1460435"/>
                  <a:gd name="connsiteY193" fmla="*/ 554655 h 554655"/>
                  <a:gd name="connsiteX194" fmla="*/ 753799 w 1460435"/>
                  <a:gd name="connsiteY194" fmla="*/ 554655 h 554655"/>
                  <a:gd name="connsiteX195" fmla="*/ 753796 w 1460435"/>
                  <a:gd name="connsiteY195" fmla="*/ 554655 h 554655"/>
                  <a:gd name="connsiteX196" fmla="*/ 740633 w 1460435"/>
                  <a:gd name="connsiteY196" fmla="*/ 554655 h 554655"/>
                  <a:gd name="connsiteX197" fmla="*/ 740632 w 1460435"/>
                  <a:gd name="connsiteY197" fmla="*/ 554655 h 554655"/>
                  <a:gd name="connsiteX198" fmla="*/ 732404 w 1460435"/>
                  <a:gd name="connsiteY198" fmla="*/ 554655 h 554655"/>
                  <a:gd name="connsiteX199" fmla="*/ 732403 w 1460435"/>
                  <a:gd name="connsiteY199" fmla="*/ 554655 h 554655"/>
                  <a:gd name="connsiteX200" fmla="*/ 717695 w 1460435"/>
                  <a:gd name="connsiteY200" fmla="*/ 554655 h 554655"/>
                  <a:gd name="connsiteX201" fmla="*/ 717693 w 1460435"/>
                  <a:gd name="connsiteY201" fmla="*/ 554655 h 554655"/>
                  <a:gd name="connsiteX202" fmla="*/ 709174 w 1460435"/>
                  <a:gd name="connsiteY202" fmla="*/ 554655 h 554655"/>
                  <a:gd name="connsiteX203" fmla="*/ 709171 w 1460435"/>
                  <a:gd name="connsiteY203" fmla="*/ 554655 h 554655"/>
                  <a:gd name="connsiteX204" fmla="*/ 688938 w 1460435"/>
                  <a:gd name="connsiteY204" fmla="*/ 554655 h 554655"/>
                  <a:gd name="connsiteX205" fmla="*/ 688936 w 1460435"/>
                  <a:gd name="connsiteY205" fmla="*/ 554655 h 554655"/>
                  <a:gd name="connsiteX206" fmla="*/ 688925 w 1460435"/>
                  <a:gd name="connsiteY206" fmla="*/ 554655 h 554655"/>
                  <a:gd name="connsiteX207" fmla="*/ 688924 w 1460435"/>
                  <a:gd name="connsiteY207" fmla="*/ 554655 h 554655"/>
                  <a:gd name="connsiteX208" fmla="*/ 680709 w 1460435"/>
                  <a:gd name="connsiteY208" fmla="*/ 554655 h 554655"/>
                  <a:gd name="connsiteX209" fmla="*/ 680706 w 1460435"/>
                  <a:gd name="connsiteY209" fmla="*/ 554655 h 554655"/>
                  <a:gd name="connsiteX210" fmla="*/ 680695 w 1460435"/>
                  <a:gd name="connsiteY210" fmla="*/ 554655 h 554655"/>
                  <a:gd name="connsiteX211" fmla="*/ 660460 w 1460435"/>
                  <a:gd name="connsiteY211" fmla="*/ 554655 h 554655"/>
                  <a:gd name="connsiteX212" fmla="*/ 660459 w 1460435"/>
                  <a:gd name="connsiteY212" fmla="*/ 554655 h 554655"/>
                  <a:gd name="connsiteX213" fmla="*/ 637231 w 1460435"/>
                  <a:gd name="connsiteY213" fmla="*/ 554655 h 554655"/>
                  <a:gd name="connsiteX214" fmla="*/ 637228 w 1460435"/>
                  <a:gd name="connsiteY214" fmla="*/ 554655 h 554655"/>
                  <a:gd name="connsiteX215" fmla="*/ 629001 w 1460435"/>
                  <a:gd name="connsiteY215" fmla="*/ 554655 h 554655"/>
                  <a:gd name="connsiteX216" fmla="*/ 628998 w 1460435"/>
                  <a:gd name="connsiteY216" fmla="*/ 554655 h 554655"/>
                  <a:gd name="connsiteX217" fmla="*/ 615836 w 1460435"/>
                  <a:gd name="connsiteY217" fmla="*/ 554655 h 554655"/>
                  <a:gd name="connsiteX218" fmla="*/ 615835 w 1460435"/>
                  <a:gd name="connsiteY218" fmla="*/ 554655 h 554655"/>
                  <a:gd name="connsiteX219" fmla="*/ 608765 w 1460435"/>
                  <a:gd name="connsiteY219" fmla="*/ 554655 h 554655"/>
                  <a:gd name="connsiteX220" fmla="*/ 608763 w 1460435"/>
                  <a:gd name="connsiteY220" fmla="*/ 554655 h 554655"/>
                  <a:gd name="connsiteX221" fmla="*/ 608752 w 1460435"/>
                  <a:gd name="connsiteY221" fmla="*/ 554655 h 554655"/>
                  <a:gd name="connsiteX222" fmla="*/ 608751 w 1460435"/>
                  <a:gd name="connsiteY222" fmla="*/ 554655 h 554655"/>
                  <a:gd name="connsiteX223" fmla="*/ 564141 w 1460435"/>
                  <a:gd name="connsiteY223" fmla="*/ 554655 h 554655"/>
                  <a:gd name="connsiteX224" fmla="*/ 564138 w 1460435"/>
                  <a:gd name="connsiteY224" fmla="*/ 554655 h 554655"/>
                  <a:gd name="connsiteX225" fmla="*/ 557058 w 1460435"/>
                  <a:gd name="connsiteY225" fmla="*/ 554655 h 554655"/>
                  <a:gd name="connsiteX226" fmla="*/ 557055 w 1460435"/>
                  <a:gd name="connsiteY226" fmla="*/ 554655 h 554655"/>
                  <a:gd name="connsiteX227" fmla="*/ 543892 w 1460435"/>
                  <a:gd name="connsiteY227" fmla="*/ 554655 h 554655"/>
                  <a:gd name="connsiteX228" fmla="*/ 543891 w 1460435"/>
                  <a:gd name="connsiteY228" fmla="*/ 554655 h 554655"/>
                  <a:gd name="connsiteX229" fmla="*/ 535663 w 1460435"/>
                  <a:gd name="connsiteY229" fmla="*/ 554655 h 554655"/>
                  <a:gd name="connsiteX230" fmla="*/ 535662 w 1460435"/>
                  <a:gd name="connsiteY230" fmla="*/ 554655 h 554655"/>
                  <a:gd name="connsiteX231" fmla="*/ 492197 w 1460435"/>
                  <a:gd name="connsiteY231" fmla="*/ 554655 h 554655"/>
                  <a:gd name="connsiteX232" fmla="*/ 492195 w 1460435"/>
                  <a:gd name="connsiteY232" fmla="*/ 554655 h 554655"/>
                  <a:gd name="connsiteX233" fmla="*/ 277328 w 1460435"/>
                  <a:gd name="connsiteY233" fmla="*/ 554654 h 554655"/>
                  <a:gd name="connsiteX234" fmla="*/ 5634 w 1460435"/>
                  <a:gd name="connsiteY234" fmla="*/ 333218 h 554655"/>
                  <a:gd name="connsiteX235" fmla="*/ 0 w 1460435"/>
                  <a:gd name="connsiteY235" fmla="*/ 277328 h 554655"/>
                  <a:gd name="connsiteX236" fmla="*/ 5634 w 1460435"/>
                  <a:gd name="connsiteY236" fmla="*/ 221437 h 554655"/>
                  <a:gd name="connsiteX237" fmla="*/ 277328 w 1460435"/>
                  <a:gd name="connsiteY237" fmla="*/ 0 h 554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  <a:cxn ang="0">
                    <a:pos x="connsiteX150" y="connsiteY150"/>
                  </a:cxn>
                  <a:cxn ang="0">
                    <a:pos x="connsiteX151" y="connsiteY151"/>
                  </a:cxn>
                  <a:cxn ang="0">
                    <a:pos x="connsiteX152" y="connsiteY152"/>
                  </a:cxn>
                  <a:cxn ang="0">
                    <a:pos x="connsiteX153" y="connsiteY153"/>
                  </a:cxn>
                  <a:cxn ang="0">
                    <a:pos x="connsiteX154" y="connsiteY154"/>
                  </a:cxn>
                  <a:cxn ang="0">
                    <a:pos x="connsiteX155" y="connsiteY155"/>
                  </a:cxn>
                  <a:cxn ang="0">
                    <a:pos x="connsiteX156" y="connsiteY156"/>
                  </a:cxn>
                  <a:cxn ang="0">
                    <a:pos x="connsiteX157" y="connsiteY157"/>
                  </a:cxn>
                  <a:cxn ang="0">
                    <a:pos x="connsiteX158" y="connsiteY158"/>
                  </a:cxn>
                  <a:cxn ang="0">
                    <a:pos x="connsiteX159" y="connsiteY159"/>
                  </a:cxn>
                  <a:cxn ang="0">
                    <a:pos x="connsiteX160" y="connsiteY160"/>
                  </a:cxn>
                  <a:cxn ang="0">
                    <a:pos x="connsiteX161" y="connsiteY161"/>
                  </a:cxn>
                  <a:cxn ang="0">
                    <a:pos x="connsiteX162" y="connsiteY162"/>
                  </a:cxn>
                  <a:cxn ang="0">
                    <a:pos x="connsiteX163" y="connsiteY163"/>
                  </a:cxn>
                  <a:cxn ang="0">
                    <a:pos x="connsiteX164" y="connsiteY164"/>
                  </a:cxn>
                  <a:cxn ang="0">
                    <a:pos x="connsiteX165" y="connsiteY165"/>
                  </a:cxn>
                  <a:cxn ang="0">
                    <a:pos x="connsiteX166" y="connsiteY166"/>
                  </a:cxn>
                  <a:cxn ang="0">
                    <a:pos x="connsiteX167" y="connsiteY167"/>
                  </a:cxn>
                  <a:cxn ang="0">
                    <a:pos x="connsiteX168" y="connsiteY168"/>
                  </a:cxn>
                  <a:cxn ang="0">
                    <a:pos x="connsiteX169" y="connsiteY169"/>
                  </a:cxn>
                  <a:cxn ang="0">
                    <a:pos x="connsiteX170" y="connsiteY170"/>
                  </a:cxn>
                  <a:cxn ang="0">
                    <a:pos x="connsiteX171" y="connsiteY171"/>
                  </a:cxn>
                  <a:cxn ang="0">
                    <a:pos x="connsiteX172" y="connsiteY172"/>
                  </a:cxn>
                  <a:cxn ang="0">
                    <a:pos x="connsiteX173" y="connsiteY173"/>
                  </a:cxn>
                  <a:cxn ang="0">
                    <a:pos x="connsiteX174" y="connsiteY174"/>
                  </a:cxn>
                  <a:cxn ang="0">
                    <a:pos x="connsiteX175" y="connsiteY175"/>
                  </a:cxn>
                  <a:cxn ang="0">
                    <a:pos x="connsiteX176" y="connsiteY176"/>
                  </a:cxn>
                  <a:cxn ang="0">
                    <a:pos x="connsiteX177" y="connsiteY177"/>
                  </a:cxn>
                  <a:cxn ang="0">
                    <a:pos x="connsiteX178" y="connsiteY178"/>
                  </a:cxn>
                  <a:cxn ang="0">
                    <a:pos x="connsiteX179" y="connsiteY179"/>
                  </a:cxn>
                  <a:cxn ang="0">
                    <a:pos x="connsiteX180" y="connsiteY180"/>
                  </a:cxn>
                  <a:cxn ang="0">
                    <a:pos x="connsiteX181" y="connsiteY181"/>
                  </a:cxn>
                  <a:cxn ang="0">
                    <a:pos x="connsiteX182" y="connsiteY182"/>
                  </a:cxn>
                  <a:cxn ang="0">
                    <a:pos x="connsiteX183" y="connsiteY183"/>
                  </a:cxn>
                  <a:cxn ang="0">
                    <a:pos x="connsiteX184" y="connsiteY184"/>
                  </a:cxn>
                  <a:cxn ang="0">
                    <a:pos x="connsiteX185" y="connsiteY185"/>
                  </a:cxn>
                  <a:cxn ang="0">
                    <a:pos x="connsiteX186" y="connsiteY186"/>
                  </a:cxn>
                  <a:cxn ang="0">
                    <a:pos x="connsiteX187" y="connsiteY187"/>
                  </a:cxn>
                  <a:cxn ang="0">
                    <a:pos x="connsiteX188" y="connsiteY188"/>
                  </a:cxn>
                  <a:cxn ang="0">
                    <a:pos x="connsiteX189" y="connsiteY189"/>
                  </a:cxn>
                  <a:cxn ang="0">
                    <a:pos x="connsiteX190" y="connsiteY190"/>
                  </a:cxn>
                  <a:cxn ang="0">
                    <a:pos x="connsiteX191" y="connsiteY191"/>
                  </a:cxn>
                  <a:cxn ang="0">
                    <a:pos x="connsiteX192" y="connsiteY192"/>
                  </a:cxn>
                  <a:cxn ang="0">
                    <a:pos x="connsiteX193" y="connsiteY193"/>
                  </a:cxn>
                  <a:cxn ang="0">
                    <a:pos x="connsiteX194" y="connsiteY194"/>
                  </a:cxn>
                  <a:cxn ang="0">
                    <a:pos x="connsiteX195" y="connsiteY195"/>
                  </a:cxn>
                  <a:cxn ang="0">
                    <a:pos x="connsiteX196" y="connsiteY196"/>
                  </a:cxn>
                  <a:cxn ang="0">
                    <a:pos x="connsiteX197" y="connsiteY197"/>
                  </a:cxn>
                  <a:cxn ang="0">
                    <a:pos x="connsiteX198" y="connsiteY198"/>
                  </a:cxn>
                  <a:cxn ang="0">
                    <a:pos x="connsiteX199" y="connsiteY199"/>
                  </a:cxn>
                  <a:cxn ang="0">
                    <a:pos x="connsiteX200" y="connsiteY200"/>
                  </a:cxn>
                  <a:cxn ang="0">
                    <a:pos x="connsiteX201" y="connsiteY201"/>
                  </a:cxn>
                  <a:cxn ang="0">
                    <a:pos x="connsiteX202" y="connsiteY202"/>
                  </a:cxn>
                  <a:cxn ang="0">
                    <a:pos x="connsiteX203" y="connsiteY203"/>
                  </a:cxn>
                  <a:cxn ang="0">
                    <a:pos x="connsiteX204" y="connsiteY204"/>
                  </a:cxn>
                  <a:cxn ang="0">
                    <a:pos x="connsiteX205" y="connsiteY205"/>
                  </a:cxn>
                  <a:cxn ang="0">
                    <a:pos x="connsiteX206" y="connsiteY206"/>
                  </a:cxn>
                  <a:cxn ang="0">
                    <a:pos x="connsiteX207" y="connsiteY207"/>
                  </a:cxn>
                  <a:cxn ang="0">
                    <a:pos x="connsiteX208" y="connsiteY208"/>
                  </a:cxn>
                  <a:cxn ang="0">
                    <a:pos x="connsiteX209" y="connsiteY209"/>
                  </a:cxn>
                  <a:cxn ang="0">
                    <a:pos x="connsiteX210" y="connsiteY210"/>
                  </a:cxn>
                  <a:cxn ang="0">
                    <a:pos x="connsiteX211" y="connsiteY211"/>
                  </a:cxn>
                  <a:cxn ang="0">
                    <a:pos x="connsiteX212" y="connsiteY212"/>
                  </a:cxn>
                  <a:cxn ang="0">
                    <a:pos x="connsiteX213" y="connsiteY213"/>
                  </a:cxn>
                  <a:cxn ang="0">
                    <a:pos x="connsiteX214" y="connsiteY214"/>
                  </a:cxn>
                  <a:cxn ang="0">
                    <a:pos x="connsiteX215" y="connsiteY215"/>
                  </a:cxn>
                  <a:cxn ang="0">
                    <a:pos x="connsiteX216" y="connsiteY216"/>
                  </a:cxn>
                  <a:cxn ang="0">
                    <a:pos x="connsiteX217" y="connsiteY217"/>
                  </a:cxn>
                  <a:cxn ang="0">
                    <a:pos x="connsiteX218" y="connsiteY218"/>
                  </a:cxn>
                  <a:cxn ang="0">
                    <a:pos x="connsiteX219" y="connsiteY219"/>
                  </a:cxn>
                  <a:cxn ang="0">
                    <a:pos x="connsiteX220" y="connsiteY220"/>
                  </a:cxn>
                  <a:cxn ang="0">
                    <a:pos x="connsiteX221" y="connsiteY221"/>
                  </a:cxn>
                  <a:cxn ang="0">
                    <a:pos x="connsiteX222" y="connsiteY222"/>
                  </a:cxn>
                  <a:cxn ang="0">
                    <a:pos x="connsiteX223" y="connsiteY223"/>
                  </a:cxn>
                  <a:cxn ang="0">
                    <a:pos x="connsiteX224" y="connsiteY224"/>
                  </a:cxn>
                  <a:cxn ang="0">
                    <a:pos x="connsiteX225" y="connsiteY225"/>
                  </a:cxn>
                  <a:cxn ang="0">
                    <a:pos x="connsiteX226" y="connsiteY226"/>
                  </a:cxn>
                  <a:cxn ang="0">
                    <a:pos x="connsiteX227" y="connsiteY227"/>
                  </a:cxn>
                  <a:cxn ang="0">
                    <a:pos x="connsiteX228" y="connsiteY228"/>
                  </a:cxn>
                  <a:cxn ang="0">
                    <a:pos x="connsiteX229" y="connsiteY229"/>
                  </a:cxn>
                  <a:cxn ang="0">
                    <a:pos x="connsiteX230" y="connsiteY230"/>
                  </a:cxn>
                  <a:cxn ang="0">
                    <a:pos x="connsiteX231" y="connsiteY231"/>
                  </a:cxn>
                  <a:cxn ang="0">
                    <a:pos x="connsiteX232" y="connsiteY232"/>
                  </a:cxn>
                  <a:cxn ang="0">
                    <a:pos x="connsiteX233" y="connsiteY233"/>
                  </a:cxn>
                  <a:cxn ang="0">
                    <a:pos x="connsiteX234" y="connsiteY234"/>
                  </a:cxn>
                  <a:cxn ang="0">
                    <a:pos x="connsiteX235" y="connsiteY235"/>
                  </a:cxn>
                  <a:cxn ang="0">
                    <a:pos x="connsiteX236" y="connsiteY236"/>
                  </a:cxn>
                  <a:cxn ang="0">
                    <a:pos x="connsiteX237" y="connsiteY237"/>
                  </a:cxn>
                </a:cxnLst>
                <a:rect l="l" t="t" r="r" b="b"/>
                <a:pathLst>
                  <a:path w="1460435" h="554655">
                    <a:moveTo>
                      <a:pt x="277328" y="0"/>
                    </a:moveTo>
                    <a:lnTo>
                      <a:pt x="320795" y="0"/>
                    </a:lnTo>
                    <a:lnTo>
                      <a:pt x="329024" y="0"/>
                    </a:lnTo>
                    <a:lnTo>
                      <a:pt x="342188" y="0"/>
                    </a:lnTo>
                    <a:lnTo>
                      <a:pt x="349271" y="0"/>
                    </a:lnTo>
                    <a:lnTo>
                      <a:pt x="393884" y="0"/>
                    </a:lnTo>
                    <a:lnTo>
                      <a:pt x="393896" y="0"/>
                    </a:lnTo>
                    <a:lnTo>
                      <a:pt x="400968" y="0"/>
                    </a:lnTo>
                    <a:lnTo>
                      <a:pt x="412023" y="0"/>
                    </a:lnTo>
                    <a:lnTo>
                      <a:pt x="414131" y="0"/>
                    </a:lnTo>
                    <a:lnTo>
                      <a:pt x="422361" y="0"/>
                    </a:lnTo>
                    <a:lnTo>
                      <a:pt x="445592" y="0"/>
                    </a:lnTo>
                    <a:lnTo>
                      <a:pt x="463719" y="0"/>
                    </a:lnTo>
                    <a:lnTo>
                      <a:pt x="465828" y="0"/>
                    </a:lnTo>
                    <a:lnTo>
                      <a:pt x="465839" y="0"/>
                    </a:lnTo>
                    <a:lnTo>
                      <a:pt x="474057" y="0"/>
                    </a:lnTo>
                    <a:lnTo>
                      <a:pt x="474069" y="0"/>
                    </a:lnTo>
                    <a:lnTo>
                      <a:pt x="483966" y="0"/>
                    </a:lnTo>
                    <a:lnTo>
                      <a:pt x="492196" y="0"/>
                    </a:lnTo>
                    <a:lnTo>
                      <a:pt x="494304" y="0"/>
                    </a:lnTo>
                    <a:lnTo>
                      <a:pt x="502826" y="0"/>
                    </a:lnTo>
                    <a:lnTo>
                      <a:pt x="517536" y="0"/>
                    </a:lnTo>
                    <a:lnTo>
                      <a:pt x="525765" y="0"/>
                    </a:lnTo>
                    <a:lnTo>
                      <a:pt x="535663" y="0"/>
                    </a:lnTo>
                    <a:lnTo>
                      <a:pt x="538929" y="0"/>
                    </a:lnTo>
                    <a:lnTo>
                      <a:pt x="543892" y="0"/>
                    </a:lnTo>
                    <a:lnTo>
                      <a:pt x="546001" y="0"/>
                    </a:lnTo>
                    <a:lnTo>
                      <a:pt x="546012" y="0"/>
                    </a:lnTo>
                    <a:lnTo>
                      <a:pt x="554522" y="0"/>
                    </a:lnTo>
                    <a:lnTo>
                      <a:pt x="557056" y="0"/>
                    </a:lnTo>
                    <a:lnTo>
                      <a:pt x="564139" y="0"/>
                    </a:lnTo>
                    <a:lnTo>
                      <a:pt x="574769" y="0"/>
                    </a:lnTo>
                    <a:lnTo>
                      <a:pt x="582999" y="0"/>
                    </a:lnTo>
                    <a:lnTo>
                      <a:pt x="590625" y="0"/>
                    </a:lnTo>
                    <a:lnTo>
                      <a:pt x="597709" y="0"/>
                    </a:lnTo>
                    <a:lnTo>
                      <a:pt x="608752" y="0"/>
                    </a:lnTo>
                    <a:lnTo>
                      <a:pt x="608764" y="0"/>
                    </a:lnTo>
                    <a:lnTo>
                      <a:pt x="610872" y="0"/>
                    </a:lnTo>
                    <a:lnTo>
                      <a:pt x="615836" y="0"/>
                    </a:lnTo>
                    <a:lnTo>
                      <a:pt x="619102" y="0"/>
                    </a:lnTo>
                    <a:lnTo>
                      <a:pt x="626466" y="0"/>
                    </a:lnTo>
                    <a:lnTo>
                      <a:pt x="628999" y="0"/>
                    </a:lnTo>
                    <a:lnTo>
                      <a:pt x="634695" y="0"/>
                    </a:lnTo>
                    <a:lnTo>
                      <a:pt x="637229" y="0"/>
                    </a:lnTo>
                    <a:lnTo>
                      <a:pt x="647859" y="0"/>
                    </a:lnTo>
                    <a:lnTo>
                      <a:pt x="654942" y="0"/>
                    </a:lnTo>
                    <a:lnTo>
                      <a:pt x="660460" y="0"/>
                    </a:lnTo>
                    <a:lnTo>
                      <a:pt x="662569" y="0"/>
                    </a:lnTo>
                    <a:lnTo>
                      <a:pt x="670798" y="0"/>
                    </a:lnTo>
                    <a:lnTo>
                      <a:pt x="680696" y="0"/>
                    </a:lnTo>
                    <a:lnTo>
                      <a:pt x="680707" y="0"/>
                    </a:lnTo>
                    <a:lnTo>
                      <a:pt x="688925" y="0"/>
                    </a:lnTo>
                    <a:lnTo>
                      <a:pt x="688937" y="0"/>
                    </a:lnTo>
                    <a:lnTo>
                      <a:pt x="691045" y="0"/>
                    </a:lnTo>
                    <a:lnTo>
                      <a:pt x="699555" y="0"/>
                    </a:lnTo>
                    <a:lnTo>
                      <a:pt x="699567" y="0"/>
                    </a:lnTo>
                    <a:lnTo>
                      <a:pt x="706639" y="0"/>
                    </a:lnTo>
                    <a:lnTo>
                      <a:pt x="709172" y="0"/>
                    </a:lnTo>
                    <a:lnTo>
                      <a:pt x="717694" y="0"/>
                    </a:lnTo>
                    <a:lnTo>
                      <a:pt x="719802" y="0"/>
                    </a:lnTo>
                    <a:lnTo>
                      <a:pt x="728032" y="0"/>
                    </a:lnTo>
                    <a:lnTo>
                      <a:pt x="732404" y="0"/>
                    </a:lnTo>
                    <a:lnTo>
                      <a:pt x="740633" y="0"/>
                    </a:lnTo>
                    <a:lnTo>
                      <a:pt x="742742" y="0"/>
                    </a:lnTo>
                    <a:lnTo>
                      <a:pt x="751263" y="0"/>
                    </a:lnTo>
                    <a:lnTo>
                      <a:pt x="753797" y="0"/>
                    </a:lnTo>
                    <a:lnTo>
                      <a:pt x="760869" y="0"/>
                    </a:lnTo>
                    <a:lnTo>
                      <a:pt x="760880" y="0"/>
                    </a:lnTo>
                    <a:lnTo>
                      <a:pt x="769390" y="0"/>
                    </a:lnTo>
                    <a:lnTo>
                      <a:pt x="771499" y="0"/>
                    </a:lnTo>
                    <a:lnTo>
                      <a:pt x="771510" y="0"/>
                    </a:lnTo>
                    <a:lnTo>
                      <a:pt x="779728" y="0"/>
                    </a:lnTo>
                    <a:lnTo>
                      <a:pt x="779740" y="0"/>
                    </a:lnTo>
                    <a:lnTo>
                      <a:pt x="789637" y="0"/>
                    </a:lnTo>
                    <a:lnTo>
                      <a:pt x="797867" y="0"/>
                    </a:lnTo>
                    <a:lnTo>
                      <a:pt x="799975" y="0"/>
                    </a:lnTo>
                    <a:lnTo>
                      <a:pt x="805493" y="0"/>
                    </a:lnTo>
                    <a:lnTo>
                      <a:pt x="812577" y="0"/>
                    </a:lnTo>
                    <a:lnTo>
                      <a:pt x="823207" y="0"/>
                    </a:lnTo>
                    <a:lnTo>
                      <a:pt x="825740" y="0"/>
                    </a:lnTo>
                    <a:lnTo>
                      <a:pt x="831436" y="0"/>
                    </a:lnTo>
                    <a:lnTo>
                      <a:pt x="833970" y="0"/>
                    </a:lnTo>
                    <a:lnTo>
                      <a:pt x="841334" y="0"/>
                    </a:lnTo>
                    <a:lnTo>
                      <a:pt x="844600" y="0"/>
                    </a:lnTo>
                    <a:lnTo>
                      <a:pt x="849563" y="0"/>
                    </a:lnTo>
                    <a:lnTo>
                      <a:pt x="851672" y="0"/>
                    </a:lnTo>
                    <a:lnTo>
                      <a:pt x="851683" y="0"/>
                    </a:lnTo>
                    <a:lnTo>
                      <a:pt x="862727" y="0"/>
                    </a:lnTo>
                    <a:lnTo>
                      <a:pt x="869810" y="0"/>
                    </a:lnTo>
                    <a:lnTo>
                      <a:pt x="877437" y="0"/>
                    </a:lnTo>
                    <a:lnTo>
                      <a:pt x="885666" y="0"/>
                    </a:lnTo>
                    <a:lnTo>
                      <a:pt x="896296" y="0"/>
                    </a:lnTo>
                    <a:lnTo>
                      <a:pt x="903380" y="0"/>
                    </a:lnTo>
                    <a:lnTo>
                      <a:pt x="905913" y="0"/>
                    </a:lnTo>
                    <a:lnTo>
                      <a:pt x="914423" y="0"/>
                    </a:lnTo>
                    <a:lnTo>
                      <a:pt x="914435" y="0"/>
                    </a:lnTo>
                    <a:lnTo>
                      <a:pt x="916543" y="0"/>
                    </a:lnTo>
                    <a:lnTo>
                      <a:pt x="921507" y="0"/>
                    </a:lnTo>
                    <a:lnTo>
                      <a:pt x="924773" y="0"/>
                    </a:lnTo>
                    <a:lnTo>
                      <a:pt x="934670" y="0"/>
                    </a:lnTo>
                    <a:lnTo>
                      <a:pt x="942900" y="0"/>
                    </a:lnTo>
                    <a:lnTo>
                      <a:pt x="957610" y="0"/>
                    </a:lnTo>
                    <a:lnTo>
                      <a:pt x="966131" y="0"/>
                    </a:lnTo>
                    <a:lnTo>
                      <a:pt x="968240" y="0"/>
                    </a:lnTo>
                    <a:lnTo>
                      <a:pt x="976469" y="0"/>
                    </a:lnTo>
                    <a:lnTo>
                      <a:pt x="986367" y="0"/>
                    </a:lnTo>
                    <a:lnTo>
                      <a:pt x="986378" y="0"/>
                    </a:lnTo>
                    <a:lnTo>
                      <a:pt x="994596" y="0"/>
                    </a:lnTo>
                    <a:lnTo>
                      <a:pt x="994608" y="0"/>
                    </a:lnTo>
                    <a:lnTo>
                      <a:pt x="996716" y="0"/>
                    </a:lnTo>
                    <a:lnTo>
                      <a:pt x="1014843" y="0"/>
                    </a:lnTo>
                    <a:lnTo>
                      <a:pt x="1038075" y="0"/>
                    </a:lnTo>
                    <a:lnTo>
                      <a:pt x="1046304" y="0"/>
                    </a:lnTo>
                    <a:lnTo>
                      <a:pt x="1048413" y="0"/>
                    </a:lnTo>
                    <a:lnTo>
                      <a:pt x="1059468" y="0"/>
                    </a:lnTo>
                    <a:lnTo>
                      <a:pt x="1066540" y="0"/>
                    </a:lnTo>
                    <a:lnTo>
                      <a:pt x="1066551" y="0"/>
                    </a:lnTo>
                    <a:lnTo>
                      <a:pt x="1111164" y="0"/>
                    </a:lnTo>
                    <a:lnTo>
                      <a:pt x="1118248" y="0"/>
                    </a:lnTo>
                    <a:lnTo>
                      <a:pt x="1131411" y="0"/>
                    </a:lnTo>
                    <a:lnTo>
                      <a:pt x="1139641" y="0"/>
                    </a:lnTo>
                    <a:lnTo>
                      <a:pt x="1183108" y="0"/>
                    </a:lnTo>
                    <a:cubicBezTo>
                      <a:pt x="1336272" y="0"/>
                      <a:pt x="1460435" y="124164"/>
                      <a:pt x="1460435" y="277328"/>
                    </a:cubicBezTo>
                    <a:lnTo>
                      <a:pt x="1460434" y="277328"/>
                    </a:lnTo>
                    <a:cubicBezTo>
                      <a:pt x="1460434" y="430492"/>
                      <a:pt x="1336271" y="554655"/>
                      <a:pt x="1183107" y="554655"/>
                    </a:cubicBezTo>
                    <a:lnTo>
                      <a:pt x="1139643" y="554655"/>
                    </a:lnTo>
                    <a:lnTo>
                      <a:pt x="1139640" y="554655"/>
                    </a:lnTo>
                    <a:lnTo>
                      <a:pt x="1131413" y="554655"/>
                    </a:lnTo>
                    <a:lnTo>
                      <a:pt x="1131410" y="554655"/>
                    </a:lnTo>
                    <a:lnTo>
                      <a:pt x="1118248" y="554655"/>
                    </a:lnTo>
                    <a:lnTo>
                      <a:pt x="1118247" y="554655"/>
                    </a:lnTo>
                    <a:lnTo>
                      <a:pt x="1111164" y="554655"/>
                    </a:lnTo>
                    <a:lnTo>
                      <a:pt x="1111163" y="554655"/>
                    </a:lnTo>
                    <a:lnTo>
                      <a:pt x="1066553" y="554655"/>
                    </a:lnTo>
                    <a:lnTo>
                      <a:pt x="1066550" y="554655"/>
                    </a:lnTo>
                    <a:lnTo>
                      <a:pt x="1066539" y="554655"/>
                    </a:lnTo>
                    <a:lnTo>
                      <a:pt x="1059470" y="554655"/>
                    </a:lnTo>
                    <a:lnTo>
                      <a:pt x="1059467" y="554655"/>
                    </a:lnTo>
                    <a:lnTo>
                      <a:pt x="1046304" y="554655"/>
                    </a:lnTo>
                    <a:lnTo>
                      <a:pt x="1046303" y="554655"/>
                    </a:lnTo>
                    <a:lnTo>
                      <a:pt x="1038075" y="554655"/>
                    </a:lnTo>
                    <a:lnTo>
                      <a:pt x="1038074" y="554655"/>
                    </a:lnTo>
                    <a:lnTo>
                      <a:pt x="1014845" y="554655"/>
                    </a:lnTo>
                    <a:lnTo>
                      <a:pt x="1014842" y="554655"/>
                    </a:lnTo>
                    <a:lnTo>
                      <a:pt x="994609" y="554655"/>
                    </a:lnTo>
                    <a:lnTo>
                      <a:pt x="994607" y="554655"/>
                    </a:lnTo>
                    <a:lnTo>
                      <a:pt x="994596" y="554655"/>
                    </a:lnTo>
                    <a:lnTo>
                      <a:pt x="994595" y="554655"/>
                    </a:lnTo>
                    <a:lnTo>
                      <a:pt x="986380" y="554655"/>
                    </a:lnTo>
                    <a:lnTo>
                      <a:pt x="986377" y="554655"/>
                    </a:lnTo>
                    <a:lnTo>
                      <a:pt x="986366" y="554655"/>
                    </a:lnTo>
                    <a:lnTo>
                      <a:pt x="966131" y="554655"/>
                    </a:lnTo>
                    <a:lnTo>
                      <a:pt x="966130" y="554655"/>
                    </a:lnTo>
                    <a:lnTo>
                      <a:pt x="957609" y="554655"/>
                    </a:lnTo>
                    <a:lnTo>
                      <a:pt x="942902" y="554655"/>
                    </a:lnTo>
                    <a:lnTo>
                      <a:pt x="942899" y="554655"/>
                    </a:lnTo>
                    <a:lnTo>
                      <a:pt x="934672" y="554655"/>
                    </a:lnTo>
                    <a:lnTo>
                      <a:pt x="934669" y="554655"/>
                    </a:lnTo>
                    <a:lnTo>
                      <a:pt x="921507" y="554655"/>
                    </a:lnTo>
                    <a:lnTo>
                      <a:pt x="921506" y="554655"/>
                    </a:lnTo>
                    <a:lnTo>
                      <a:pt x="914436" y="554655"/>
                    </a:lnTo>
                    <a:lnTo>
                      <a:pt x="914434" y="554655"/>
                    </a:lnTo>
                    <a:lnTo>
                      <a:pt x="914423" y="554655"/>
                    </a:lnTo>
                    <a:lnTo>
                      <a:pt x="914422" y="554655"/>
                    </a:lnTo>
                    <a:lnTo>
                      <a:pt x="905915" y="554655"/>
                    </a:lnTo>
                    <a:lnTo>
                      <a:pt x="905912" y="554655"/>
                    </a:lnTo>
                    <a:lnTo>
                      <a:pt x="885666" y="554655"/>
                    </a:lnTo>
                    <a:lnTo>
                      <a:pt x="885665" y="554655"/>
                    </a:lnTo>
                    <a:lnTo>
                      <a:pt x="877436" y="554655"/>
                    </a:lnTo>
                    <a:lnTo>
                      <a:pt x="869812" y="554655"/>
                    </a:lnTo>
                    <a:lnTo>
                      <a:pt x="869809" y="554655"/>
                    </a:lnTo>
                    <a:lnTo>
                      <a:pt x="862729" y="554655"/>
                    </a:lnTo>
                    <a:lnTo>
                      <a:pt x="862726" y="554655"/>
                    </a:lnTo>
                    <a:lnTo>
                      <a:pt x="849563" y="554655"/>
                    </a:lnTo>
                    <a:lnTo>
                      <a:pt x="849562" y="554655"/>
                    </a:lnTo>
                    <a:lnTo>
                      <a:pt x="841334" y="554655"/>
                    </a:lnTo>
                    <a:lnTo>
                      <a:pt x="841333" y="554655"/>
                    </a:lnTo>
                    <a:lnTo>
                      <a:pt x="833972" y="554655"/>
                    </a:lnTo>
                    <a:lnTo>
                      <a:pt x="833969" y="554655"/>
                    </a:lnTo>
                    <a:lnTo>
                      <a:pt x="825742" y="554655"/>
                    </a:lnTo>
                    <a:lnTo>
                      <a:pt x="825739" y="554655"/>
                    </a:lnTo>
                    <a:lnTo>
                      <a:pt x="812577" y="554655"/>
                    </a:lnTo>
                    <a:lnTo>
                      <a:pt x="812576" y="554655"/>
                    </a:lnTo>
                    <a:lnTo>
                      <a:pt x="805493" y="554655"/>
                    </a:lnTo>
                    <a:lnTo>
                      <a:pt x="805492" y="554655"/>
                    </a:lnTo>
                    <a:lnTo>
                      <a:pt x="797868" y="554655"/>
                    </a:lnTo>
                    <a:lnTo>
                      <a:pt x="797866" y="554655"/>
                    </a:lnTo>
                    <a:lnTo>
                      <a:pt x="789639" y="554655"/>
                    </a:lnTo>
                    <a:lnTo>
                      <a:pt x="789636" y="554655"/>
                    </a:lnTo>
                    <a:lnTo>
                      <a:pt x="769390" y="554655"/>
                    </a:lnTo>
                    <a:lnTo>
                      <a:pt x="769389" y="554655"/>
                    </a:lnTo>
                    <a:lnTo>
                      <a:pt x="760882" y="554655"/>
                    </a:lnTo>
                    <a:lnTo>
                      <a:pt x="760879" y="554655"/>
                    </a:lnTo>
                    <a:lnTo>
                      <a:pt x="760868" y="554655"/>
                    </a:lnTo>
                    <a:lnTo>
                      <a:pt x="753799" y="554655"/>
                    </a:lnTo>
                    <a:lnTo>
                      <a:pt x="753796" y="554655"/>
                    </a:lnTo>
                    <a:lnTo>
                      <a:pt x="740633" y="554655"/>
                    </a:lnTo>
                    <a:lnTo>
                      <a:pt x="740632" y="554655"/>
                    </a:lnTo>
                    <a:lnTo>
                      <a:pt x="732404" y="554655"/>
                    </a:lnTo>
                    <a:lnTo>
                      <a:pt x="732403" y="554655"/>
                    </a:lnTo>
                    <a:lnTo>
                      <a:pt x="717695" y="554655"/>
                    </a:lnTo>
                    <a:lnTo>
                      <a:pt x="717693" y="554655"/>
                    </a:lnTo>
                    <a:lnTo>
                      <a:pt x="709174" y="554655"/>
                    </a:lnTo>
                    <a:lnTo>
                      <a:pt x="709171" y="554655"/>
                    </a:lnTo>
                    <a:lnTo>
                      <a:pt x="688938" y="554655"/>
                    </a:lnTo>
                    <a:lnTo>
                      <a:pt x="688936" y="554655"/>
                    </a:lnTo>
                    <a:lnTo>
                      <a:pt x="688925" y="554655"/>
                    </a:lnTo>
                    <a:lnTo>
                      <a:pt x="688924" y="554655"/>
                    </a:lnTo>
                    <a:lnTo>
                      <a:pt x="680709" y="554655"/>
                    </a:lnTo>
                    <a:lnTo>
                      <a:pt x="680706" y="554655"/>
                    </a:lnTo>
                    <a:lnTo>
                      <a:pt x="680695" y="554655"/>
                    </a:lnTo>
                    <a:lnTo>
                      <a:pt x="660460" y="554655"/>
                    </a:lnTo>
                    <a:lnTo>
                      <a:pt x="660459" y="554655"/>
                    </a:lnTo>
                    <a:lnTo>
                      <a:pt x="637231" y="554655"/>
                    </a:lnTo>
                    <a:lnTo>
                      <a:pt x="637228" y="554655"/>
                    </a:lnTo>
                    <a:lnTo>
                      <a:pt x="629001" y="554655"/>
                    </a:lnTo>
                    <a:lnTo>
                      <a:pt x="628998" y="554655"/>
                    </a:lnTo>
                    <a:lnTo>
                      <a:pt x="615836" y="554655"/>
                    </a:lnTo>
                    <a:lnTo>
                      <a:pt x="615835" y="554655"/>
                    </a:lnTo>
                    <a:lnTo>
                      <a:pt x="608765" y="554655"/>
                    </a:lnTo>
                    <a:lnTo>
                      <a:pt x="608763" y="554655"/>
                    </a:lnTo>
                    <a:lnTo>
                      <a:pt x="608752" y="554655"/>
                    </a:lnTo>
                    <a:lnTo>
                      <a:pt x="608751" y="554655"/>
                    </a:lnTo>
                    <a:lnTo>
                      <a:pt x="564141" y="554655"/>
                    </a:lnTo>
                    <a:lnTo>
                      <a:pt x="564138" y="554655"/>
                    </a:lnTo>
                    <a:lnTo>
                      <a:pt x="557058" y="554655"/>
                    </a:lnTo>
                    <a:lnTo>
                      <a:pt x="557055" y="554655"/>
                    </a:lnTo>
                    <a:lnTo>
                      <a:pt x="543892" y="554655"/>
                    </a:lnTo>
                    <a:lnTo>
                      <a:pt x="543891" y="554655"/>
                    </a:lnTo>
                    <a:lnTo>
                      <a:pt x="535663" y="554655"/>
                    </a:lnTo>
                    <a:lnTo>
                      <a:pt x="535662" y="554655"/>
                    </a:lnTo>
                    <a:lnTo>
                      <a:pt x="492197" y="554655"/>
                    </a:lnTo>
                    <a:lnTo>
                      <a:pt x="492195" y="554655"/>
                    </a:lnTo>
                    <a:lnTo>
                      <a:pt x="277328" y="554654"/>
                    </a:lnTo>
                    <a:cubicBezTo>
                      <a:pt x="143309" y="554654"/>
                      <a:pt x="31494" y="459591"/>
                      <a:pt x="5634" y="333218"/>
                    </a:cubicBezTo>
                    <a:lnTo>
                      <a:pt x="0" y="277328"/>
                    </a:lnTo>
                    <a:lnTo>
                      <a:pt x="5634" y="221437"/>
                    </a:lnTo>
                    <a:cubicBezTo>
                      <a:pt x="31494" y="95063"/>
                      <a:pt x="143309" y="0"/>
                      <a:pt x="277328" y="0"/>
                    </a:cubicBezTo>
                    <a:close/>
                  </a:path>
                </a:pathLst>
              </a:custGeom>
              <a:noFill/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ru-RU"/>
              </a:p>
            </p:txBody>
          </p:sp>
        </p:grpSp>
        <p:grpSp>
          <p:nvGrpSpPr>
            <p:cNvPr id="7" name="Группа 6"/>
            <p:cNvGrpSpPr/>
            <p:nvPr/>
          </p:nvGrpSpPr>
          <p:grpSpPr>
            <a:xfrm>
              <a:off x="9127150" y="5121778"/>
              <a:ext cx="1070017" cy="554655"/>
              <a:chOff x="10755934" y="5645081"/>
              <a:chExt cx="1070017" cy="554655"/>
            </a:xfrm>
          </p:grpSpPr>
          <p:pic>
            <p:nvPicPr>
              <p:cNvPr id="22" name="Picture 2" descr="новый логотип сбербанка 2020 на прозрачном фоне (пнг)– новый логотип  сбербанка 2020 png">
                <a:extLst>
                  <a:ext uri="{FF2B5EF4-FFF2-40B4-BE49-F238E27FC236}">
                    <a16:creationId xmlns:a16="http://schemas.microsoft.com/office/drawing/2014/main" id="{2D08F332-50E1-7D4A-8629-94C31F40615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0946796" y="5821961"/>
                <a:ext cx="731467" cy="20440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85" name="Полилиния 84"/>
              <p:cNvSpPr/>
              <p:nvPr/>
            </p:nvSpPr>
            <p:spPr>
              <a:xfrm>
                <a:off x="10755934" y="5645081"/>
                <a:ext cx="1070017" cy="554655"/>
              </a:xfrm>
              <a:custGeom>
                <a:avLst/>
                <a:gdLst>
                  <a:gd name="connsiteX0" fmla="*/ 277328 w 1070017"/>
                  <a:gd name="connsiteY0" fmla="*/ 0 h 554655"/>
                  <a:gd name="connsiteX1" fmla="*/ 309137 w 1070017"/>
                  <a:gd name="connsiteY1" fmla="*/ 0 h 554655"/>
                  <a:gd name="connsiteX2" fmla="*/ 309149 w 1070017"/>
                  <a:gd name="connsiteY2" fmla="*/ 0 h 554655"/>
                  <a:gd name="connsiteX3" fmla="*/ 327276 w 1070017"/>
                  <a:gd name="connsiteY3" fmla="*/ 0 h 554655"/>
                  <a:gd name="connsiteX4" fmla="*/ 329024 w 1070017"/>
                  <a:gd name="connsiteY4" fmla="*/ 0 h 554655"/>
                  <a:gd name="connsiteX5" fmla="*/ 329384 w 1070017"/>
                  <a:gd name="connsiteY5" fmla="*/ 0 h 554655"/>
                  <a:gd name="connsiteX6" fmla="*/ 349271 w 1070017"/>
                  <a:gd name="connsiteY6" fmla="*/ 0 h 554655"/>
                  <a:gd name="connsiteX7" fmla="*/ 360845 w 1070017"/>
                  <a:gd name="connsiteY7" fmla="*/ 0 h 554655"/>
                  <a:gd name="connsiteX8" fmla="*/ 378972 w 1070017"/>
                  <a:gd name="connsiteY8" fmla="*/ 0 h 554655"/>
                  <a:gd name="connsiteX9" fmla="*/ 381081 w 1070017"/>
                  <a:gd name="connsiteY9" fmla="*/ 0 h 554655"/>
                  <a:gd name="connsiteX10" fmla="*/ 381092 w 1070017"/>
                  <a:gd name="connsiteY10" fmla="*/ 0 h 554655"/>
                  <a:gd name="connsiteX11" fmla="*/ 399219 w 1070017"/>
                  <a:gd name="connsiteY11" fmla="*/ 0 h 554655"/>
                  <a:gd name="connsiteX12" fmla="*/ 400968 w 1070017"/>
                  <a:gd name="connsiteY12" fmla="*/ 0 h 554655"/>
                  <a:gd name="connsiteX13" fmla="*/ 422361 w 1070017"/>
                  <a:gd name="connsiteY13" fmla="*/ 0 h 554655"/>
                  <a:gd name="connsiteX14" fmla="*/ 432789 w 1070017"/>
                  <a:gd name="connsiteY14" fmla="*/ 0 h 554655"/>
                  <a:gd name="connsiteX15" fmla="*/ 450916 w 1070017"/>
                  <a:gd name="connsiteY15" fmla="*/ 0 h 554655"/>
                  <a:gd name="connsiteX16" fmla="*/ 454182 w 1070017"/>
                  <a:gd name="connsiteY16" fmla="*/ 0 h 554655"/>
                  <a:gd name="connsiteX17" fmla="*/ 472309 w 1070017"/>
                  <a:gd name="connsiteY17" fmla="*/ 0 h 554655"/>
                  <a:gd name="connsiteX18" fmla="*/ 474057 w 1070017"/>
                  <a:gd name="connsiteY18" fmla="*/ 0 h 554655"/>
                  <a:gd name="connsiteX19" fmla="*/ 474069 w 1070017"/>
                  <a:gd name="connsiteY19" fmla="*/ 0 h 554655"/>
                  <a:gd name="connsiteX20" fmla="*/ 492196 w 1070017"/>
                  <a:gd name="connsiteY20" fmla="*/ 0 h 554655"/>
                  <a:gd name="connsiteX21" fmla="*/ 494304 w 1070017"/>
                  <a:gd name="connsiteY21" fmla="*/ 0 h 554655"/>
                  <a:gd name="connsiteX22" fmla="*/ 505878 w 1070017"/>
                  <a:gd name="connsiteY22" fmla="*/ 0 h 554655"/>
                  <a:gd name="connsiteX23" fmla="*/ 524005 w 1070017"/>
                  <a:gd name="connsiteY23" fmla="*/ 0 h 554655"/>
                  <a:gd name="connsiteX24" fmla="*/ 524017 w 1070017"/>
                  <a:gd name="connsiteY24" fmla="*/ 0 h 554655"/>
                  <a:gd name="connsiteX25" fmla="*/ 525765 w 1070017"/>
                  <a:gd name="connsiteY25" fmla="*/ 0 h 554655"/>
                  <a:gd name="connsiteX26" fmla="*/ 526125 w 1070017"/>
                  <a:gd name="connsiteY26" fmla="*/ 0 h 554655"/>
                  <a:gd name="connsiteX27" fmla="*/ 543892 w 1070017"/>
                  <a:gd name="connsiteY27" fmla="*/ 0 h 554655"/>
                  <a:gd name="connsiteX28" fmla="*/ 544252 w 1070017"/>
                  <a:gd name="connsiteY28" fmla="*/ 0 h 554655"/>
                  <a:gd name="connsiteX29" fmla="*/ 546001 w 1070017"/>
                  <a:gd name="connsiteY29" fmla="*/ 0 h 554655"/>
                  <a:gd name="connsiteX30" fmla="*/ 546012 w 1070017"/>
                  <a:gd name="connsiteY30" fmla="*/ 0 h 554655"/>
                  <a:gd name="connsiteX31" fmla="*/ 564139 w 1070017"/>
                  <a:gd name="connsiteY31" fmla="*/ 0 h 554655"/>
                  <a:gd name="connsiteX32" fmla="*/ 575713 w 1070017"/>
                  <a:gd name="connsiteY32" fmla="*/ 0 h 554655"/>
                  <a:gd name="connsiteX33" fmla="*/ 577822 w 1070017"/>
                  <a:gd name="connsiteY33" fmla="*/ 0 h 554655"/>
                  <a:gd name="connsiteX34" fmla="*/ 595949 w 1070017"/>
                  <a:gd name="connsiteY34" fmla="*/ 0 h 554655"/>
                  <a:gd name="connsiteX35" fmla="*/ 595960 w 1070017"/>
                  <a:gd name="connsiteY35" fmla="*/ 0 h 554655"/>
                  <a:gd name="connsiteX36" fmla="*/ 597709 w 1070017"/>
                  <a:gd name="connsiteY36" fmla="*/ 0 h 554655"/>
                  <a:gd name="connsiteX37" fmla="*/ 615836 w 1070017"/>
                  <a:gd name="connsiteY37" fmla="*/ 0 h 554655"/>
                  <a:gd name="connsiteX38" fmla="*/ 619102 w 1070017"/>
                  <a:gd name="connsiteY38" fmla="*/ 0 h 554655"/>
                  <a:gd name="connsiteX39" fmla="*/ 637229 w 1070017"/>
                  <a:gd name="connsiteY39" fmla="*/ 0 h 554655"/>
                  <a:gd name="connsiteX40" fmla="*/ 647657 w 1070017"/>
                  <a:gd name="connsiteY40" fmla="*/ 0 h 554655"/>
                  <a:gd name="connsiteX41" fmla="*/ 669050 w 1070017"/>
                  <a:gd name="connsiteY41" fmla="*/ 0 h 554655"/>
                  <a:gd name="connsiteX42" fmla="*/ 670798 w 1070017"/>
                  <a:gd name="connsiteY42" fmla="*/ 0 h 554655"/>
                  <a:gd name="connsiteX43" fmla="*/ 688925 w 1070017"/>
                  <a:gd name="connsiteY43" fmla="*/ 0 h 554655"/>
                  <a:gd name="connsiteX44" fmla="*/ 688937 w 1070017"/>
                  <a:gd name="connsiteY44" fmla="*/ 0 h 554655"/>
                  <a:gd name="connsiteX45" fmla="*/ 691045 w 1070017"/>
                  <a:gd name="connsiteY45" fmla="*/ 0 h 554655"/>
                  <a:gd name="connsiteX46" fmla="*/ 709172 w 1070017"/>
                  <a:gd name="connsiteY46" fmla="*/ 0 h 554655"/>
                  <a:gd name="connsiteX47" fmla="*/ 720746 w 1070017"/>
                  <a:gd name="connsiteY47" fmla="*/ 0 h 554655"/>
                  <a:gd name="connsiteX48" fmla="*/ 740633 w 1070017"/>
                  <a:gd name="connsiteY48" fmla="*/ 0 h 554655"/>
                  <a:gd name="connsiteX49" fmla="*/ 740993 w 1070017"/>
                  <a:gd name="connsiteY49" fmla="*/ 0 h 554655"/>
                  <a:gd name="connsiteX50" fmla="*/ 742742 w 1070017"/>
                  <a:gd name="connsiteY50" fmla="*/ 0 h 554655"/>
                  <a:gd name="connsiteX51" fmla="*/ 760869 w 1070017"/>
                  <a:gd name="connsiteY51" fmla="*/ 0 h 554655"/>
                  <a:gd name="connsiteX52" fmla="*/ 760880 w 1070017"/>
                  <a:gd name="connsiteY52" fmla="*/ 0 h 554655"/>
                  <a:gd name="connsiteX53" fmla="*/ 792690 w 1070017"/>
                  <a:gd name="connsiteY53" fmla="*/ 0 h 554655"/>
                  <a:gd name="connsiteX54" fmla="*/ 1070017 w 1070017"/>
                  <a:gd name="connsiteY54" fmla="*/ 277328 h 554655"/>
                  <a:gd name="connsiteX55" fmla="*/ 1070016 w 1070017"/>
                  <a:gd name="connsiteY55" fmla="*/ 277328 h 554655"/>
                  <a:gd name="connsiteX56" fmla="*/ 792689 w 1070017"/>
                  <a:gd name="connsiteY56" fmla="*/ 554655 h 554655"/>
                  <a:gd name="connsiteX57" fmla="*/ 760882 w 1070017"/>
                  <a:gd name="connsiteY57" fmla="*/ 554655 h 554655"/>
                  <a:gd name="connsiteX58" fmla="*/ 760879 w 1070017"/>
                  <a:gd name="connsiteY58" fmla="*/ 554655 h 554655"/>
                  <a:gd name="connsiteX59" fmla="*/ 760868 w 1070017"/>
                  <a:gd name="connsiteY59" fmla="*/ 554655 h 554655"/>
                  <a:gd name="connsiteX60" fmla="*/ 740995 w 1070017"/>
                  <a:gd name="connsiteY60" fmla="*/ 554655 h 554655"/>
                  <a:gd name="connsiteX61" fmla="*/ 740992 w 1070017"/>
                  <a:gd name="connsiteY61" fmla="*/ 554655 h 554655"/>
                  <a:gd name="connsiteX62" fmla="*/ 740633 w 1070017"/>
                  <a:gd name="connsiteY62" fmla="*/ 554655 h 554655"/>
                  <a:gd name="connsiteX63" fmla="*/ 740632 w 1070017"/>
                  <a:gd name="connsiteY63" fmla="*/ 554655 h 554655"/>
                  <a:gd name="connsiteX64" fmla="*/ 720746 w 1070017"/>
                  <a:gd name="connsiteY64" fmla="*/ 554655 h 554655"/>
                  <a:gd name="connsiteX65" fmla="*/ 720745 w 1070017"/>
                  <a:gd name="connsiteY65" fmla="*/ 554655 h 554655"/>
                  <a:gd name="connsiteX66" fmla="*/ 709174 w 1070017"/>
                  <a:gd name="connsiteY66" fmla="*/ 554655 h 554655"/>
                  <a:gd name="connsiteX67" fmla="*/ 709171 w 1070017"/>
                  <a:gd name="connsiteY67" fmla="*/ 554655 h 554655"/>
                  <a:gd name="connsiteX68" fmla="*/ 688938 w 1070017"/>
                  <a:gd name="connsiteY68" fmla="*/ 554655 h 554655"/>
                  <a:gd name="connsiteX69" fmla="*/ 688936 w 1070017"/>
                  <a:gd name="connsiteY69" fmla="*/ 554655 h 554655"/>
                  <a:gd name="connsiteX70" fmla="*/ 688925 w 1070017"/>
                  <a:gd name="connsiteY70" fmla="*/ 554655 h 554655"/>
                  <a:gd name="connsiteX71" fmla="*/ 688924 w 1070017"/>
                  <a:gd name="connsiteY71" fmla="*/ 554655 h 554655"/>
                  <a:gd name="connsiteX72" fmla="*/ 669052 w 1070017"/>
                  <a:gd name="connsiteY72" fmla="*/ 554655 h 554655"/>
                  <a:gd name="connsiteX73" fmla="*/ 669049 w 1070017"/>
                  <a:gd name="connsiteY73" fmla="*/ 554655 h 554655"/>
                  <a:gd name="connsiteX74" fmla="*/ 647657 w 1070017"/>
                  <a:gd name="connsiteY74" fmla="*/ 554655 h 554655"/>
                  <a:gd name="connsiteX75" fmla="*/ 647656 w 1070017"/>
                  <a:gd name="connsiteY75" fmla="*/ 554655 h 554655"/>
                  <a:gd name="connsiteX76" fmla="*/ 637231 w 1070017"/>
                  <a:gd name="connsiteY76" fmla="*/ 554655 h 554655"/>
                  <a:gd name="connsiteX77" fmla="*/ 637228 w 1070017"/>
                  <a:gd name="connsiteY77" fmla="*/ 554655 h 554655"/>
                  <a:gd name="connsiteX78" fmla="*/ 615836 w 1070017"/>
                  <a:gd name="connsiteY78" fmla="*/ 554655 h 554655"/>
                  <a:gd name="connsiteX79" fmla="*/ 615835 w 1070017"/>
                  <a:gd name="connsiteY79" fmla="*/ 554655 h 554655"/>
                  <a:gd name="connsiteX80" fmla="*/ 595962 w 1070017"/>
                  <a:gd name="connsiteY80" fmla="*/ 554655 h 554655"/>
                  <a:gd name="connsiteX81" fmla="*/ 595959 w 1070017"/>
                  <a:gd name="connsiteY81" fmla="*/ 554655 h 554655"/>
                  <a:gd name="connsiteX82" fmla="*/ 595948 w 1070017"/>
                  <a:gd name="connsiteY82" fmla="*/ 554655 h 554655"/>
                  <a:gd name="connsiteX83" fmla="*/ 575713 w 1070017"/>
                  <a:gd name="connsiteY83" fmla="*/ 554655 h 554655"/>
                  <a:gd name="connsiteX84" fmla="*/ 575712 w 1070017"/>
                  <a:gd name="connsiteY84" fmla="*/ 554655 h 554655"/>
                  <a:gd name="connsiteX85" fmla="*/ 564141 w 1070017"/>
                  <a:gd name="connsiteY85" fmla="*/ 554655 h 554655"/>
                  <a:gd name="connsiteX86" fmla="*/ 564138 w 1070017"/>
                  <a:gd name="connsiteY86" fmla="*/ 554655 h 554655"/>
                  <a:gd name="connsiteX87" fmla="*/ 544254 w 1070017"/>
                  <a:gd name="connsiteY87" fmla="*/ 554655 h 554655"/>
                  <a:gd name="connsiteX88" fmla="*/ 544251 w 1070017"/>
                  <a:gd name="connsiteY88" fmla="*/ 554655 h 554655"/>
                  <a:gd name="connsiteX89" fmla="*/ 543892 w 1070017"/>
                  <a:gd name="connsiteY89" fmla="*/ 554655 h 554655"/>
                  <a:gd name="connsiteX90" fmla="*/ 543891 w 1070017"/>
                  <a:gd name="connsiteY90" fmla="*/ 554655 h 554655"/>
                  <a:gd name="connsiteX91" fmla="*/ 524018 w 1070017"/>
                  <a:gd name="connsiteY91" fmla="*/ 554655 h 554655"/>
                  <a:gd name="connsiteX92" fmla="*/ 524016 w 1070017"/>
                  <a:gd name="connsiteY92" fmla="*/ 554655 h 554655"/>
                  <a:gd name="connsiteX93" fmla="*/ 524005 w 1070017"/>
                  <a:gd name="connsiteY93" fmla="*/ 554655 h 554655"/>
                  <a:gd name="connsiteX94" fmla="*/ 524004 w 1070017"/>
                  <a:gd name="connsiteY94" fmla="*/ 554655 h 554655"/>
                  <a:gd name="connsiteX95" fmla="*/ 492197 w 1070017"/>
                  <a:gd name="connsiteY95" fmla="*/ 554655 h 554655"/>
                  <a:gd name="connsiteX96" fmla="*/ 492195 w 1070017"/>
                  <a:gd name="connsiteY96" fmla="*/ 554655 h 554655"/>
                  <a:gd name="connsiteX97" fmla="*/ 277328 w 1070017"/>
                  <a:gd name="connsiteY97" fmla="*/ 554654 h 554655"/>
                  <a:gd name="connsiteX98" fmla="*/ 5634 w 1070017"/>
                  <a:gd name="connsiteY98" fmla="*/ 333218 h 554655"/>
                  <a:gd name="connsiteX99" fmla="*/ 0 w 1070017"/>
                  <a:gd name="connsiteY99" fmla="*/ 277328 h 554655"/>
                  <a:gd name="connsiteX100" fmla="*/ 5634 w 1070017"/>
                  <a:gd name="connsiteY100" fmla="*/ 221437 h 554655"/>
                  <a:gd name="connsiteX101" fmla="*/ 277328 w 1070017"/>
                  <a:gd name="connsiteY101" fmla="*/ 0 h 55465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</a:cxnLst>
                <a:rect l="l" t="t" r="r" b="b"/>
                <a:pathLst>
                  <a:path w="1070017" h="554655">
                    <a:moveTo>
                      <a:pt x="277328" y="0"/>
                    </a:moveTo>
                    <a:lnTo>
                      <a:pt x="309137" y="0"/>
                    </a:lnTo>
                    <a:lnTo>
                      <a:pt x="309149" y="0"/>
                    </a:lnTo>
                    <a:lnTo>
                      <a:pt x="327276" y="0"/>
                    </a:lnTo>
                    <a:lnTo>
                      <a:pt x="329024" y="0"/>
                    </a:lnTo>
                    <a:lnTo>
                      <a:pt x="329384" y="0"/>
                    </a:lnTo>
                    <a:lnTo>
                      <a:pt x="349271" y="0"/>
                    </a:lnTo>
                    <a:lnTo>
                      <a:pt x="360845" y="0"/>
                    </a:lnTo>
                    <a:lnTo>
                      <a:pt x="378972" y="0"/>
                    </a:lnTo>
                    <a:lnTo>
                      <a:pt x="381081" y="0"/>
                    </a:lnTo>
                    <a:lnTo>
                      <a:pt x="381092" y="0"/>
                    </a:lnTo>
                    <a:lnTo>
                      <a:pt x="399219" y="0"/>
                    </a:lnTo>
                    <a:lnTo>
                      <a:pt x="400968" y="0"/>
                    </a:lnTo>
                    <a:lnTo>
                      <a:pt x="422361" y="0"/>
                    </a:lnTo>
                    <a:lnTo>
                      <a:pt x="432789" y="0"/>
                    </a:lnTo>
                    <a:lnTo>
                      <a:pt x="450916" y="0"/>
                    </a:lnTo>
                    <a:lnTo>
                      <a:pt x="454182" y="0"/>
                    </a:lnTo>
                    <a:lnTo>
                      <a:pt x="472309" y="0"/>
                    </a:lnTo>
                    <a:lnTo>
                      <a:pt x="474057" y="0"/>
                    </a:lnTo>
                    <a:lnTo>
                      <a:pt x="474069" y="0"/>
                    </a:lnTo>
                    <a:lnTo>
                      <a:pt x="492196" y="0"/>
                    </a:lnTo>
                    <a:lnTo>
                      <a:pt x="494304" y="0"/>
                    </a:lnTo>
                    <a:lnTo>
                      <a:pt x="505878" y="0"/>
                    </a:lnTo>
                    <a:lnTo>
                      <a:pt x="524005" y="0"/>
                    </a:lnTo>
                    <a:lnTo>
                      <a:pt x="524017" y="0"/>
                    </a:lnTo>
                    <a:lnTo>
                      <a:pt x="525765" y="0"/>
                    </a:lnTo>
                    <a:lnTo>
                      <a:pt x="526125" y="0"/>
                    </a:lnTo>
                    <a:lnTo>
                      <a:pt x="543892" y="0"/>
                    </a:lnTo>
                    <a:lnTo>
                      <a:pt x="544252" y="0"/>
                    </a:lnTo>
                    <a:lnTo>
                      <a:pt x="546001" y="0"/>
                    </a:lnTo>
                    <a:lnTo>
                      <a:pt x="546012" y="0"/>
                    </a:lnTo>
                    <a:lnTo>
                      <a:pt x="564139" y="0"/>
                    </a:lnTo>
                    <a:lnTo>
                      <a:pt x="575713" y="0"/>
                    </a:lnTo>
                    <a:lnTo>
                      <a:pt x="577822" y="0"/>
                    </a:lnTo>
                    <a:lnTo>
                      <a:pt x="595949" y="0"/>
                    </a:lnTo>
                    <a:lnTo>
                      <a:pt x="595960" y="0"/>
                    </a:lnTo>
                    <a:lnTo>
                      <a:pt x="597709" y="0"/>
                    </a:lnTo>
                    <a:lnTo>
                      <a:pt x="615836" y="0"/>
                    </a:lnTo>
                    <a:lnTo>
                      <a:pt x="619102" y="0"/>
                    </a:lnTo>
                    <a:lnTo>
                      <a:pt x="637229" y="0"/>
                    </a:lnTo>
                    <a:lnTo>
                      <a:pt x="647657" y="0"/>
                    </a:lnTo>
                    <a:lnTo>
                      <a:pt x="669050" y="0"/>
                    </a:lnTo>
                    <a:lnTo>
                      <a:pt x="670798" y="0"/>
                    </a:lnTo>
                    <a:lnTo>
                      <a:pt x="688925" y="0"/>
                    </a:lnTo>
                    <a:lnTo>
                      <a:pt x="688937" y="0"/>
                    </a:lnTo>
                    <a:lnTo>
                      <a:pt x="691045" y="0"/>
                    </a:lnTo>
                    <a:lnTo>
                      <a:pt x="709172" y="0"/>
                    </a:lnTo>
                    <a:lnTo>
                      <a:pt x="720746" y="0"/>
                    </a:lnTo>
                    <a:lnTo>
                      <a:pt x="740633" y="0"/>
                    </a:lnTo>
                    <a:lnTo>
                      <a:pt x="740993" y="0"/>
                    </a:lnTo>
                    <a:lnTo>
                      <a:pt x="742742" y="0"/>
                    </a:lnTo>
                    <a:lnTo>
                      <a:pt x="760869" y="0"/>
                    </a:lnTo>
                    <a:lnTo>
                      <a:pt x="760880" y="0"/>
                    </a:lnTo>
                    <a:lnTo>
                      <a:pt x="792690" y="0"/>
                    </a:lnTo>
                    <a:cubicBezTo>
                      <a:pt x="945854" y="0"/>
                      <a:pt x="1070017" y="124164"/>
                      <a:pt x="1070017" y="277328"/>
                    </a:cubicBezTo>
                    <a:lnTo>
                      <a:pt x="1070016" y="277328"/>
                    </a:lnTo>
                    <a:cubicBezTo>
                      <a:pt x="1070016" y="430492"/>
                      <a:pt x="945853" y="554655"/>
                      <a:pt x="792689" y="554655"/>
                    </a:cubicBezTo>
                    <a:lnTo>
                      <a:pt x="760882" y="554655"/>
                    </a:lnTo>
                    <a:lnTo>
                      <a:pt x="760879" y="554655"/>
                    </a:lnTo>
                    <a:lnTo>
                      <a:pt x="760868" y="554655"/>
                    </a:lnTo>
                    <a:lnTo>
                      <a:pt x="740995" y="554655"/>
                    </a:lnTo>
                    <a:lnTo>
                      <a:pt x="740992" y="554655"/>
                    </a:lnTo>
                    <a:lnTo>
                      <a:pt x="740633" y="554655"/>
                    </a:lnTo>
                    <a:lnTo>
                      <a:pt x="740632" y="554655"/>
                    </a:lnTo>
                    <a:lnTo>
                      <a:pt x="720746" y="554655"/>
                    </a:lnTo>
                    <a:lnTo>
                      <a:pt x="720745" y="554655"/>
                    </a:lnTo>
                    <a:lnTo>
                      <a:pt x="709174" y="554655"/>
                    </a:lnTo>
                    <a:lnTo>
                      <a:pt x="709171" y="554655"/>
                    </a:lnTo>
                    <a:lnTo>
                      <a:pt x="688938" y="554655"/>
                    </a:lnTo>
                    <a:lnTo>
                      <a:pt x="688936" y="554655"/>
                    </a:lnTo>
                    <a:lnTo>
                      <a:pt x="688925" y="554655"/>
                    </a:lnTo>
                    <a:lnTo>
                      <a:pt x="688924" y="554655"/>
                    </a:lnTo>
                    <a:lnTo>
                      <a:pt x="669052" y="554655"/>
                    </a:lnTo>
                    <a:lnTo>
                      <a:pt x="669049" y="554655"/>
                    </a:lnTo>
                    <a:lnTo>
                      <a:pt x="647657" y="554655"/>
                    </a:lnTo>
                    <a:lnTo>
                      <a:pt x="647656" y="554655"/>
                    </a:lnTo>
                    <a:lnTo>
                      <a:pt x="637231" y="554655"/>
                    </a:lnTo>
                    <a:lnTo>
                      <a:pt x="637228" y="554655"/>
                    </a:lnTo>
                    <a:lnTo>
                      <a:pt x="615836" y="554655"/>
                    </a:lnTo>
                    <a:lnTo>
                      <a:pt x="615835" y="554655"/>
                    </a:lnTo>
                    <a:lnTo>
                      <a:pt x="595962" y="554655"/>
                    </a:lnTo>
                    <a:lnTo>
                      <a:pt x="595959" y="554655"/>
                    </a:lnTo>
                    <a:lnTo>
                      <a:pt x="595948" y="554655"/>
                    </a:lnTo>
                    <a:lnTo>
                      <a:pt x="575713" y="554655"/>
                    </a:lnTo>
                    <a:lnTo>
                      <a:pt x="575712" y="554655"/>
                    </a:lnTo>
                    <a:lnTo>
                      <a:pt x="564141" y="554655"/>
                    </a:lnTo>
                    <a:lnTo>
                      <a:pt x="564138" y="554655"/>
                    </a:lnTo>
                    <a:lnTo>
                      <a:pt x="544254" y="554655"/>
                    </a:lnTo>
                    <a:lnTo>
                      <a:pt x="544251" y="554655"/>
                    </a:lnTo>
                    <a:lnTo>
                      <a:pt x="543892" y="554655"/>
                    </a:lnTo>
                    <a:lnTo>
                      <a:pt x="543891" y="554655"/>
                    </a:lnTo>
                    <a:lnTo>
                      <a:pt x="524018" y="554655"/>
                    </a:lnTo>
                    <a:lnTo>
                      <a:pt x="524016" y="554655"/>
                    </a:lnTo>
                    <a:lnTo>
                      <a:pt x="524005" y="554655"/>
                    </a:lnTo>
                    <a:lnTo>
                      <a:pt x="524004" y="554655"/>
                    </a:lnTo>
                    <a:lnTo>
                      <a:pt x="492197" y="554655"/>
                    </a:lnTo>
                    <a:lnTo>
                      <a:pt x="492195" y="554655"/>
                    </a:lnTo>
                    <a:lnTo>
                      <a:pt x="277328" y="554654"/>
                    </a:lnTo>
                    <a:cubicBezTo>
                      <a:pt x="143309" y="554654"/>
                      <a:pt x="31494" y="459591"/>
                      <a:pt x="5634" y="333218"/>
                    </a:cubicBezTo>
                    <a:lnTo>
                      <a:pt x="0" y="277328"/>
                    </a:lnTo>
                    <a:lnTo>
                      <a:pt x="5634" y="221437"/>
                    </a:lnTo>
                    <a:cubicBezTo>
                      <a:pt x="31494" y="95063"/>
                      <a:pt x="143309" y="0"/>
                      <a:pt x="277328" y="0"/>
                    </a:cubicBezTo>
                    <a:close/>
                  </a:path>
                </a:pathLst>
              </a:custGeom>
              <a:noFill/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ru-RU"/>
              </a:p>
            </p:txBody>
          </p:sp>
        </p:grpSp>
        <p:pic>
          <p:nvPicPr>
            <p:cNvPr id="2" name="Рисунок 1"/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>
              <a:off x="6420820" y="5136886"/>
              <a:ext cx="560560" cy="489632"/>
            </a:xfrm>
            <a:prstGeom prst="rect">
              <a:avLst/>
            </a:prstGeom>
          </p:spPr>
        </p:pic>
      </p:grpSp>
      <p:pic>
        <p:nvPicPr>
          <p:cNvPr id="3" name="Рисунок 2"/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8253" y="2421291"/>
            <a:ext cx="1695745" cy="1685342"/>
          </a:xfrm>
          <a:prstGeom prst="rect">
            <a:avLst/>
          </a:prstGeom>
        </p:spPr>
      </p:pic>
      <p:sp>
        <p:nvSpPr>
          <p:cNvPr id="46" name="Прямоугольник 45"/>
          <p:cNvSpPr/>
          <p:nvPr/>
        </p:nvSpPr>
        <p:spPr>
          <a:xfrm>
            <a:off x="745220" y="327804"/>
            <a:ext cx="4301233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Рынки </a:t>
            </a:r>
            <a:r>
              <a:rPr kumimoji="0" lang="ru-RU" sz="1300" b="0" i="0" u="none" strike="noStrike" kern="1200" cap="none" spc="0" normalizeH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быт</a:t>
            </a:r>
            <a:r>
              <a:rPr lang="ru-RU" sz="13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а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0900742" y="312079"/>
            <a:ext cx="604745" cy="322513"/>
          </a:xfrm>
          <a:prstGeom prst="rect">
            <a:avLst/>
          </a:prstGeom>
        </p:spPr>
      </p:pic>
      <p:pic>
        <p:nvPicPr>
          <p:cNvPr id="43" name="Рисунок 42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sp>
        <p:nvSpPr>
          <p:cNvPr id="44" name="Полилиния 43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51954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24639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24354" y="-1"/>
            <a:ext cx="7563672" cy="504648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-24354" y="4908321"/>
            <a:ext cx="12212849" cy="195383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2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867383" y="1412071"/>
            <a:ext cx="3638104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Д</a:t>
            </a:r>
            <a:r>
              <a:rPr lang="ru-RU" sz="16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оговор </a:t>
            </a: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на поставку товара, оказание </a:t>
            </a:r>
            <a:r>
              <a:rPr lang="ru-RU" sz="16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услуги</a:t>
            </a:r>
            <a:r>
              <a:rPr lang="ru-RU" sz="1600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со встречными инвестиционными обязательствами</a:t>
            </a:r>
            <a:endParaRPr lang="ru-RU" sz="1600" spc="-80" dirty="0"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867383" y="727152"/>
            <a:ext cx="4556754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defRPr/>
            </a:pPr>
            <a:r>
              <a:rPr lang="ru-RU" sz="3200" spc="-15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Офсетные договоры</a:t>
            </a:r>
            <a:endParaRPr lang="ru-RU" sz="3200" spc="-150" dirty="0">
              <a:solidFill>
                <a:srgbClr val="FF0000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45220" y="327804"/>
            <a:ext cx="4301233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Рынки </a:t>
            </a:r>
            <a:r>
              <a:rPr kumimoji="0" lang="ru-RU" sz="1300" b="0" i="0" u="none" strike="noStrike" kern="1200" cap="none" spc="0" normalizeH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быт</a:t>
            </a:r>
            <a:r>
              <a:rPr lang="ru-RU" sz="13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а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02159" y="727152"/>
            <a:ext cx="5836664" cy="87203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400"/>
              </a:lnSpc>
              <a:defRPr/>
            </a:pPr>
            <a:r>
              <a:rPr lang="ru-RU" sz="3200" spc="-15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Программа «выращивания</a:t>
            </a:r>
            <a:r>
              <a:rPr lang="ru-RU" sz="3200" spc="-15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» поставщиков</a:t>
            </a:r>
            <a:endParaRPr lang="ru-RU" sz="3200" spc="-150" dirty="0">
              <a:gradFill>
                <a:gsLst>
                  <a:gs pos="0">
                    <a:srgbClr val="FF6464"/>
                  </a:gs>
                  <a:gs pos="100000">
                    <a:schemeClr val="bg2"/>
                  </a:gs>
                </a:gsLst>
                <a:lin ang="0" scaled="0"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702159" y="1664387"/>
            <a:ext cx="655925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spc="-40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рограмма поддержки поставщиков </a:t>
            </a:r>
            <a:r>
              <a:rPr lang="ru-RU" sz="1600" spc="-40" dirty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 </a:t>
            </a:r>
            <a:r>
              <a:rPr lang="ru-RU" sz="1600" spc="-40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в </a:t>
            </a:r>
            <a:r>
              <a:rPr lang="ru-RU" sz="1600" spc="-40" dirty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целях их потенциального участия </a:t>
            </a:r>
            <a:r>
              <a:rPr lang="ru-RU" sz="1600" spc="-40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в </a:t>
            </a:r>
            <a:r>
              <a:rPr lang="ru-RU" sz="1600" spc="-40" dirty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закупках под потребности заказчиков</a:t>
            </a: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0900742" y="306999"/>
            <a:ext cx="604745" cy="322513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4738" y="2150735"/>
            <a:ext cx="1295627" cy="1295627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702158" y="3009213"/>
            <a:ext cx="2556965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</a:t>
            </a: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упнейших заказчиков</a:t>
            </a:r>
            <a:endParaRPr lang="ru-RU" sz="1600" spc="7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9" name="Прямоугольник 48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02159" y="2507890"/>
            <a:ext cx="1915805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5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gt;25</a:t>
            </a:r>
            <a:endParaRPr lang="ru-RU" sz="3500" spc="7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3" name="Прямоугольник 52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537899" y="2547685"/>
            <a:ext cx="1915805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5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gt;1250</a:t>
            </a:r>
            <a:endParaRPr lang="ru-RU" sz="3500" spc="7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3556966" y="3062538"/>
            <a:ext cx="2706661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менклатурных позиций</a:t>
            </a:r>
            <a:endParaRPr lang="ru-RU" sz="1600" spc="7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39406" y="3628246"/>
            <a:ext cx="5456921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2000" spc="-40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реимущества для предпринимателя</a:t>
            </a:r>
            <a:endParaRPr lang="ru-RU" sz="2000" spc="-40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4936176" y="4090107"/>
            <a:ext cx="2196860" cy="553998"/>
          </a:xfrm>
          <a:prstGeom prst="rect">
            <a:avLst/>
          </a:prstGeom>
        </p:spPr>
        <p:txBody>
          <a:bodyPr wrap="square" lIns="0" tIns="0" rIns="0" bIns="0" numCol="1" spcCol="180000">
            <a:spAutoFit/>
          </a:bodyPr>
          <a:lstStyle/>
          <a:p>
            <a:pPr marL="180975" indent="-180975">
              <a:spcAft>
                <a:spcPts val="1000"/>
              </a:spcAft>
              <a:buClr>
                <a:srgbClr val="FF6464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</a:t>
            </a:r>
            <a:r>
              <a:rPr lang="ru-RU" sz="12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ивлечение новых квалифицированных партнеров</a:t>
            </a:r>
            <a:endParaRPr lang="ru-RU" sz="1200" spc="7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739780" y="4058580"/>
            <a:ext cx="2087902" cy="369332"/>
          </a:xfrm>
          <a:prstGeom prst="rect">
            <a:avLst/>
          </a:prstGeom>
        </p:spPr>
        <p:txBody>
          <a:bodyPr wrap="square" lIns="0" tIns="0" rIns="0" bIns="0" numCol="1" spcCol="180000">
            <a:spAutoFit/>
          </a:bodyPr>
          <a:lstStyle/>
          <a:p>
            <a:pPr marL="180975" indent="-180975">
              <a:spcAft>
                <a:spcPts val="1000"/>
              </a:spcAft>
              <a:buClr>
                <a:srgbClr val="FF6464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кселерация и </a:t>
            </a:r>
            <a:r>
              <a:rPr lang="ru-RU" sz="12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азвитие  предпринимателей </a:t>
            </a:r>
            <a:endParaRPr lang="ru-RU" sz="1200" spc="7" dirty="0" smtClean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0" name="Прямоугольник 59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885549" y="2570095"/>
            <a:ext cx="2615891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2000" spc="-40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реимущества </a:t>
            </a:r>
            <a:br>
              <a:rPr lang="ru-RU" sz="2000" spc="-40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2000" spc="-40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для предпринимателя</a:t>
            </a:r>
            <a:endParaRPr lang="ru-RU" sz="2000" spc="-40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7867383" y="3409039"/>
            <a:ext cx="2909173" cy="1179810"/>
          </a:xfrm>
          <a:prstGeom prst="rect">
            <a:avLst/>
          </a:prstGeom>
        </p:spPr>
        <p:txBody>
          <a:bodyPr wrap="square" lIns="0" tIns="0" rIns="0" bIns="0" numCol="1" spcCol="180000">
            <a:spAutoFit/>
          </a:bodyPr>
          <a:lstStyle/>
          <a:p>
            <a:pPr marL="180975" indent="-180975">
              <a:spcAft>
                <a:spcPts val="1000"/>
              </a:spcAft>
              <a:buClr>
                <a:srgbClr val="FF6464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Гарантированный рынок сбыта</a:t>
            </a:r>
          </a:p>
          <a:p>
            <a:pPr marL="180975" indent="-180975">
              <a:spcAft>
                <a:spcPts val="1000"/>
              </a:spcAft>
              <a:buClr>
                <a:srgbClr val="FF6464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Долгосрочное сотрудничество </a:t>
            </a:r>
            <a:br>
              <a:rPr lang="ru-RU" sz="12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2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с заказчиком</a:t>
            </a:r>
          </a:p>
          <a:p>
            <a:pPr marL="180975" indent="-180975">
              <a:spcAft>
                <a:spcPts val="1000"/>
              </a:spcAft>
              <a:buClr>
                <a:srgbClr val="FF6464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spc="7" dirty="0">
                <a:latin typeface="Segoe UI" panose="020B0502040204020203" pitchFamily="34" charset="0"/>
                <a:cs typeface="Segoe UI" panose="020B0502040204020203" pitchFamily="34" charset="0"/>
              </a:rPr>
              <a:t>Развитие производства, повышение </a:t>
            </a:r>
            <a:r>
              <a:rPr lang="ru-RU" sz="12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конкурентоспособности</a:t>
            </a:r>
            <a:endParaRPr lang="ru-RU" sz="12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827682" y="4022720"/>
            <a:ext cx="2282440" cy="7745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>
              <a:spcAft>
                <a:spcPts val="1000"/>
              </a:spcAft>
              <a:buClr>
                <a:srgbClr val="FF6464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2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частие в закупках товаров, работ </a:t>
            </a:r>
            <a:r>
              <a:rPr lang="ru-RU" sz="12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услуг</a:t>
            </a:r>
          </a:p>
          <a:p>
            <a:pPr marL="180975" indent="-180975">
              <a:spcAft>
                <a:spcPts val="1000"/>
              </a:spcAft>
              <a:buClr>
                <a:srgbClr val="FF6464"/>
              </a:buClr>
              <a:buSzPct val="150000"/>
              <a:buFont typeface="Arial" panose="020B0604020202020204" pitchFamily="34" charset="0"/>
              <a:buChar char="•"/>
            </a:pPr>
            <a:endParaRPr lang="ru-RU" sz="1200" spc="7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1616931" y="5410975"/>
            <a:ext cx="8704053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2486438"/>
            <a:r>
              <a:rPr lang="ru-RU" sz="24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ервис «Гид по закупкам»</a:t>
            </a:r>
          </a:p>
          <a:p>
            <a:pPr algn="ctr" defTabSz="2486438"/>
            <a:r>
              <a:rPr lang="ru-RU" sz="16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Корпорация МСП оказывает </a:t>
            </a:r>
            <a:r>
              <a:rPr lang="ru-RU" sz="1600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консультационную поддержку в целях заключения офсетных </a:t>
            </a:r>
            <a:r>
              <a:rPr lang="ru-RU" sz="16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договоров и программ «выращивания» поставщиков</a:t>
            </a:r>
            <a:endParaRPr lang="ru-RU" sz="16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" name="Правая фигурная скобка 5"/>
          <p:cNvSpPr/>
          <p:nvPr/>
        </p:nvSpPr>
        <p:spPr>
          <a:xfrm rot="5400000">
            <a:off x="5855608" y="706915"/>
            <a:ext cx="366064" cy="8757156"/>
          </a:xfrm>
          <a:prstGeom prst="rightBrace">
            <a:avLst>
              <a:gd name="adj1" fmla="val 58333"/>
              <a:gd name="adj2" fmla="val 50894"/>
            </a:avLst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3" name="Скругленный прямоугольник 32">
            <a:extLst>
              <a:ext uri="{FF2B5EF4-FFF2-40B4-BE49-F238E27FC236}">
                <a16:creationId xmlns:a16="http://schemas.microsoft.com/office/drawing/2014/main" id="{837E3327-67C7-CF48-A192-F510E0B3FBD5}"/>
              </a:ext>
            </a:extLst>
          </p:cNvPr>
          <p:cNvSpPr/>
          <p:nvPr/>
        </p:nvSpPr>
        <p:spPr>
          <a:xfrm>
            <a:off x="6697325" y="406454"/>
            <a:ext cx="1669567" cy="306467"/>
          </a:xfrm>
          <a:prstGeom prst="roundRect">
            <a:avLst/>
          </a:prstGeom>
          <a:solidFill>
            <a:schemeClr val="accent2"/>
          </a:solidFill>
        </p:spPr>
        <p:txBody>
          <a:bodyPr wrap="square">
            <a:spAutoFit/>
          </a:bodyPr>
          <a:lstStyle/>
          <a:p>
            <a:pPr algn="ctr" defTabSz="554492"/>
            <a:r>
              <a:rPr lang="ru-RU" sz="1200" b="1" spc="-10" dirty="0">
                <a:solidFill>
                  <a:schemeClr val="bg1"/>
                </a:solidFill>
                <a:latin typeface=""/>
                <a:ea typeface="Segoe UI" panose="020B0502040204020203" pitchFamily="34" charset="0"/>
                <a:cs typeface="Segoe UI" panose="020B0502040204020203" pitchFamily="34" charset="0"/>
              </a:rPr>
              <a:t>в</a:t>
            </a:r>
            <a:r>
              <a:rPr lang="ru-RU" sz="1200" b="1" spc="-10" dirty="0" smtClean="0">
                <a:solidFill>
                  <a:schemeClr val="bg1"/>
                </a:solidFill>
                <a:latin typeface=""/>
                <a:ea typeface="Segoe UI" panose="020B0502040204020203" pitchFamily="34" charset="0"/>
                <a:cs typeface="Segoe UI" panose="020B0502040204020203" pitchFamily="34" charset="0"/>
              </a:rPr>
              <a:t> рамках 223-ФЗ</a:t>
            </a:r>
            <a:endParaRPr lang="ru-RU" sz="1200" b="1" spc="-10" dirty="0">
              <a:solidFill>
                <a:schemeClr val="bg1"/>
              </a:solidFill>
              <a:latin typeface="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731838" y="6423291"/>
            <a:ext cx="1077364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7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Федеральный </a:t>
            </a:r>
            <a:r>
              <a:rPr lang="ru-RU" sz="7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кон от 14.07.2022 № 285-ФЗ, предусматривающий право заказчиков оказывать финансовую, правовую, методическую, информационную и иную поддержку субъектам МСП в рамках реализации программ по развитию («выращиванию</a:t>
            </a:r>
            <a:r>
              <a:rPr lang="ru-RU" sz="7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»)</a:t>
            </a:r>
          </a:p>
          <a:p>
            <a:r>
              <a:rPr lang="ru-RU" sz="700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** </a:t>
            </a:r>
            <a:r>
              <a:rPr lang="ru-RU" sz="70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рамках ПМЭФ 2022 Президент РФ поручил Корпорации МСП совместно с Минэкономразвития и крупнейшими заказчиками организовать работу по заключению  «офсетных» договоров в рамках 223-ФЗ </a:t>
            </a:r>
          </a:p>
        </p:txBody>
      </p:sp>
      <p:pic>
        <p:nvPicPr>
          <p:cNvPr id="44034" name="Picture 2" descr="http://qrcoder.ru/code/?https%3A%2F%2Fcorpmsp.ru%2Fforma-competence-center-in-field-of-procurement%2F&amp;4&amp;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838" y="5184142"/>
            <a:ext cx="1105592" cy="11055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835375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20848" y="0"/>
            <a:ext cx="5620045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3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7479746" y="4070846"/>
            <a:ext cx="415776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</a:t>
            </a:r>
            <a:r>
              <a:rPr lang="ru-RU" sz="14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тобранных поставщиков продуктов питания </a:t>
            </a:r>
            <a:br>
              <a:rPr lang="ru-RU" sz="14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продукции фермеров</a:t>
            </a:r>
            <a:endParaRPr lang="ru-RU" sz="1400" spc="7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45221" y="5303858"/>
            <a:ext cx="3661420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spc="-80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Бесплатная база проверенных действующих и потенциальных поставщиков продуктов питания </a:t>
            </a:r>
            <a:br>
              <a:rPr lang="ru-RU" sz="1600" spc="-80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1600" spc="-80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з числа МСП со всей России</a:t>
            </a:r>
            <a:endParaRPr lang="ru-RU" sz="1600" spc="-80" dirty="0">
              <a:solidFill>
                <a:schemeClr val="bg1">
                  <a:lumMod val="95000"/>
                </a:schemeClr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317135" y="3988683"/>
            <a:ext cx="1915805" cy="53861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5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gt;470</a:t>
            </a:r>
            <a:endParaRPr lang="ru-RU" sz="3500" spc="7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45220" y="4053925"/>
            <a:ext cx="4556754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defRPr/>
            </a:pPr>
            <a:r>
              <a:rPr lang="ru-RU" sz="3600" spc="-15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Р</a:t>
            </a:r>
            <a:r>
              <a:rPr lang="ru-RU" sz="3600" spc="-15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еестр поставщиков продуктов питания</a:t>
            </a:r>
            <a:endParaRPr lang="ru-RU" sz="3600" spc="-150" dirty="0">
              <a:gradFill>
                <a:gsLst>
                  <a:gs pos="0">
                    <a:srgbClr val="FF6464"/>
                  </a:gs>
                  <a:gs pos="100000">
                    <a:schemeClr val="bg2"/>
                  </a:gs>
                </a:gsLst>
                <a:lin ang="0" scaled="0"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6339735" y="5008184"/>
            <a:ext cx="222629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озможность найти поставщика продуктов питания для своего магазина, гостиницы, ресторана и др.</a:t>
            </a:r>
            <a:endParaRPr lang="ru-RU" sz="1200" dirty="0">
              <a:solidFill>
                <a:srgbClr val="191919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128508" y="5012224"/>
            <a:ext cx="209888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800"/>
              </a:spcAft>
            </a:pPr>
            <a:r>
              <a:rPr lang="ru-RU" sz="1200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озможность заявить </a:t>
            </a:r>
            <a:br>
              <a:rPr lang="ru-RU" sz="1200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200" dirty="0" smtClean="0">
                <a:solidFill>
                  <a:srgbClr val="191919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 себе и найти новых покупателей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28507" y="4677586"/>
            <a:ext cx="245204" cy="245204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42375" y="4673546"/>
            <a:ext cx="245204" cy="245204"/>
          </a:xfrm>
          <a:prstGeom prst="rect">
            <a:avLst/>
          </a:prstGeom>
        </p:spPr>
      </p:pic>
      <p:sp>
        <p:nvSpPr>
          <p:cNvPr id="16" name="Прямоугольник 15"/>
          <p:cNvSpPr/>
          <p:nvPr/>
        </p:nvSpPr>
        <p:spPr>
          <a:xfrm>
            <a:off x="745220" y="327804"/>
            <a:ext cx="4301233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Рынки </a:t>
            </a:r>
            <a:r>
              <a:rPr kumimoji="0" lang="ru-RU" sz="1300" b="0" i="0" u="none" strike="noStrike" kern="1200" cap="none" spc="0" normalizeH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быт</a:t>
            </a:r>
            <a:r>
              <a:rPr lang="ru-RU" sz="13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а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82818" y="5005673"/>
            <a:ext cx="1308093" cy="1308093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45220" y="1050436"/>
            <a:ext cx="4556754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defRPr/>
            </a:pPr>
            <a:r>
              <a:rPr lang="ru-RU" sz="3600" spc="-15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С</a:t>
            </a:r>
            <a:r>
              <a:rPr lang="ru-RU" sz="3600" spc="-15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тать поставщиком торговых сетей</a:t>
            </a:r>
            <a:endParaRPr lang="ru-RU" sz="3600" spc="-150" dirty="0">
              <a:gradFill>
                <a:gsLst>
                  <a:gs pos="0">
                    <a:srgbClr val="FF6464"/>
                  </a:gs>
                  <a:gs pos="100000">
                    <a:schemeClr val="bg2"/>
                  </a:gs>
                </a:gsLst>
                <a:lin ang="0" scaled="0"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754847" y="2244024"/>
            <a:ext cx="3894791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spc="-40" dirty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</a:t>
            </a:r>
            <a:r>
              <a:rPr lang="ru-RU" sz="1600" spc="-40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ервис</a:t>
            </a:r>
            <a:r>
              <a:rPr lang="ru-RU" sz="1600" spc="-40" dirty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, открывающий доступ </a:t>
            </a:r>
            <a:r>
              <a:rPr lang="ru-RU" sz="1600" spc="-40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ставщикам продуктов питания </a:t>
            </a:r>
            <a:br>
              <a:rPr lang="ru-RU" sz="1600" spc="-40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1600" spc="-40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на </a:t>
            </a:r>
            <a:r>
              <a:rPr lang="ru-RU" sz="1600" spc="-40" dirty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лки крупнейших торговых сетей </a:t>
            </a:r>
            <a:r>
              <a:rPr lang="ru-RU" sz="1600" spc="-40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600" spc="-40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1600" spc="-40" dirty="0" smtClean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 </a:t>
            </a:r>
            <a:r>
              <a:rPr lang="ru-RU" sz="1600" spc="-40" dirty="0">
                <a:solidFill>
                  <a:schemeClr val="bg1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«Фермерских островков»</a:t>
            </a: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37425" y="1894047"/>
            <a:ext cx="1231222" cy="1231222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6317134" y="2397516"/>
            <a:ext cx="2054705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spc="7" dirty="0">
                <a:latin typeface="Segoe UI" panose="020B0502040204020203" pitchFamily="34" charset="0"/>
                <a:cs typeface="Segoe UI" panose="020B0502040204020203" pitchFamily="34" charset="0"/>
              </a:rPr>
              <a:t>предпринимателей обратились </a:t>
            </a:r>
            <a:r>
              <a:rPr lang="ru-RU" sz="12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за </a:t>
            </a:r>
            <a:r>
              <a:rPr lang="ru-RU" sz="1200" spc="7" dirty="0">
                <a:latin typeface="Segoe UI" panose="020B0502040204020203" pitchFamily="34" charset="0"/>
                <a:cs typeface="Segoe UI" panose="020B0502040204020203" pitchFamily="34" charset="0"/>
              </a:rPr>
              <a:t>поддержкой </a:t>
            </a:r>
            <a:r>
              <a:rPr lang="en-US" sz="12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2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endParaRPr lang="ru-RU" sz="12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Прямоугольник 29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317135" y="1815707"/>
            <a:ext cx="1245683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5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5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70</a:t>
            </a:r>
            <a:endParaRPr lang="ru-RU" sz="3500" spc="7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9119312" y="2397516"/>
            <a:ext cx="258075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200" dirty="0">
                <a:latin typeface="Segoe UI" panose="020B0502040204020203" pitchFamily="34" charset="0"/>
                <a:cs typeface="Segoe UI" panose="020B0502040204020203" pitchFamily="34" charset="0"/>
              </a:rPr>
              <a:t>предпринимателей </a:t>
            </a:r>
            <a:r>
              <a:rPr lang="en-US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уже реализуют свою продукцию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119313" y="1815707"/>
            <a:ext cx="1245683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5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gt;1</a:t>
            </a:r>
            <a:r>
              <a:rPr lang="ru-RU" sz="35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9</a:t>
            </a:r>
            <a:r>
              <a:rPr lang="en-US" sz="35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0</a:t>
            </a:r>
            <a:endParaRPr lang="ru-RU" sz="3500" spc="7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317135" y="766830"/>
            <a:ext cx="5552811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fontAlgn="base"/>
            <a:r>
              <a:rPr lang="ru-RU" sz="2800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родукция МСП на полках крупнейших ритейлеров</a:t>
            </a:r>
          </a:p>
        </p:txBody>
      </p:sp>
      <p:pic>
        <p:nvPicPr>
          <p:cNvPr id="37" name="Picture 2">
            <a:extLst>
              <a:ext uri="{FF2B5EF4-FFF2-40B4-BE49-F238E27FC236}">
                <a16:creationId xmlns:a16="http://schemas.microsoft.com/office/drawing/2014/main" id="{5982BFC1-472F-4BB6-A9F1-F8DA3570C56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92" t="37848" r="22133" b="39435"/>
          <a:stretch/>
        </p:blipFill>
        <p:spPr bwMode="auto">
          <a:xfrm>
            <a:off x="8911526" y="3004580"/>
            <a:ext cx="719181" cy="2317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https://misis.ru/files/14276/%D0%9C%D0%B0%D0%B3%D0%BD%D0%B8%D1%82%20%D0%9B%D0%BE%D0%B3%D0%BE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93847" y="3015922"/>
            <a:ext cx="841122" cy="2420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0" name="Полилиния 49"/>
          <p:cNvSpPr/>
          <p:nvPr/>
        </p:nvSpPr>
        <p:spPr>
          <a:xfrm>
            <a:off x="6316101" y="2962921"/>
            <a:ext cx="957893" cy="388075"/>
          </a:xfrm>
          <a:custGeom>
            <a:avLst/>
            <a:gdLst>
              <a:gd name="connsiteX0" fmla="*/ 233720 w 1138598"/>
              <a:gd name="connsiteY0" fmla="*/ 0 h 467438"/>
              <a:gd name="connsiteX1" fmla="*/ 239757 w 1138598"/>
              <a:gd name="connsiteY1" fmla="*/ 0 h 467438"/>
              <a:gd name="connsiteX2" fmla="*/ 239767 w 1138598"/>
              <a:gd name="connsiteY2" fmla="*/ 0 h 467438"/>
              <a:gd name="connsiteX3" fmla="*/ 255044 w 1138598"/>
              <a:gd name="connsiteY3" fmla="*/ 0 h 467438"/>
              <a:gd name="connsiteX4" fmla="*/ 256820 w 1138598"/>
              <a:gd name="connsiteY4" fmla="*/ 0 h 467438"/>
              <a:gd name="connsiteX5" fmla="*/ 277287 w 1138598"/>
              <a:gd name="connsiteY5" fmla="*/ 0 h 467438"/>
              <a:gd name="connsiteX6" fmla="*/ 283334 w 1138598"/>
              <a:gd name="connsiteY6" fmla="*/ 0 h 467438"/>
              <a:gd name="connsiteX7" fmla="*/ 294350 w 1138598"/>
              <a:gd name="connsiteY7" fmla="*/ 0 h 467438"/>
              <a:gd name="connsiteX8" fmla="*/ 298611 w 1138598"/>
              <a:gd name="connsiteY8" fmla="*/ 0 h 467438"/>
              <a:gd name="connsiteX9" fmla="*/ 300388 w 1138598"/>
              <a:gd name="connsiteY9" fmla="*/ 0 h 467438"/>
              <a:gd name="connsiteX10" fmla="*/ 300397 w 1138598"/>
              <a:gd name="connsiteY10" fmla="*/ 0 h 467438"/>
              <a:gd name="connsiteX11" fmla="*/ 315674 w 1138598"/>
              <a:gd name="connsiteY11" fmla="*/ 0 h 467438"/>
              <a:gd name="connsiteX12" fmla="*/ 331568 w 1138598"/>
              <a:gd name="connsiteY12" fmla="*/ 0 h 467438"/>
              <a:gd name="connsiteX13" fmla="*/ 337918 w 1138598"/>
              <a:gd name="connsiteY13" fmla="*/ 0 h 467438"/>
              <a:gd name="connsiteX14" fmla="*/ 343965 w 1138598"/>
              <a:gd name="connsiteY14" fmla="*/ 0 h 467438"/>
              <a:gd name="connsiteX15" fmla="*/ 355947 w 1138598"/>
              <a:gd name="connsiteY15" fmla="*/ 0 h 467438"/>
              <a:gd name="connsiteX16" fmla="*/ 359242 w 1138598"/>
              <a:gd name="connsiteY16" fmla="*/ 0 h 467438"/>
              <a:gd name="connsiteX17" fmla="*/ 361994 w 1138598"/>
              <a:gd name="connsiteY17" fmla="*/ 0 h 467438"/>
              <a:gd name="connsiteX18" fmla="*/ 375135 w 1138598"/>
              <a:gd name="connsiteY18" fmla="*/ 0 h 467438"/>
              <a:gd name="connsiteX19" fmla="*/ 377271 w 1138598"/>
              <a:gd name="connsiteY19" fmla="*/ 0 h 467438"/>
              <a:gd name="connsiteX20" fmla="*/ 392199 w 1138598"/>
              <a:gd name="connsiteY20" fmla="*/ 0 h 467438"/>
              <a:gd name="connsiteX21" fmla="*/ 399514 w 1138598"/>
              <a:gd name="connsiteY21" fmla="*/ 0 h 467438"/>
              <a:gd name="connsiteX22" fmla="*/ 399524 w 1138598"/>
              <a:gd name="connsiteY22" fmla="*/ 0 h 467438"/>
              <a:gd name="connsiteX23" fmla="*/ 405561 w 1138598"/>
              <a:gd name="connsiteY23" fmla="*/ 0 h 467438"/>
              <a:gd name="connsiteX24" fmla="*/ 414801 w 1138598"/>
              <a:gd name="connsiteY24" fmla="*/ 0 h 467438"/>
              <a:gd name="connsiteX25" fmla="*/ 416577 w 1138598"/>
              <a:gd name="connsiteY25" fmla="*/ 0 h 467438"/>
              <a:gd name="connsiteX26" fmla="*/ 420838 w 1138598"/>
              <a:gd name="connsiteY26" fmla="*/ 0 h 467438"/>
              <a:gd name="connsiteX27" fmla="*/ 420848 w 1138598"/>
              <a:gd name="connsiteY27" fmla="*/ 0 h 467438"/>
              <a:gd name="connsiteX28" fmla="*/ 422625 w 1138598"/>
              <a:gd name="connsiteY28" fmla="*/ 0 h 467438"/>
              <a:gd name="connsiteX29" fmla="*/ 435767 w 1138598"/>
              <a:gd name="connsiteY29" fmla="*/ 0 h 467438"/>
              <a:gd name="connsiteX30" fmla="*/ 437901 w 1138598"/>
              <a:gd name="connsiteY30" fmla="*/ 0 h 467438"/>
              <a:gd name="connsiteX31" fmla="*/ 443091 w 1138598"/>
              <a:gd name="connsiteY31" fmla="*/ 0 h 467438"/>
              <a:gd name="connsiteX32" fmla="*/ 453796 w 1138598"/>
              <a:gd name="connsiteY32" fmla="*/ 0 h 467438"/>
              <a:gd name="connsiteX33" fmla="*/ 458368 w 1138598"/>
              <a:gd name="connsiteY33" fmla="*/ 0 h 467438"/>
              <a:gd name="connsiteX34" fmla="*/ 460145 w 1138598"/>
              <a:gd name="connsiteY34" fmla="*/ 0 h 467438"/>
              <a:gd name="connsiteX35" fmla="*/ 460154 w 1138598"/>
              <a:gd name="connsiteY35" fmla="*/ 0 h 467438"/>
              <a:gd name="connsiteX36" fmla="*/ 464415 w 1138598"/>
              <a:gd name="connsiteY36" fmla="*/ 0 h 467438"/>
              <a:gd name="connsiteX37" fmla="*/ 466193 w 1138598"/>
              <a:gd name="connsiteY37" fmla="*/ 0 h 467438"/>
              <a:gd name="connsiteX38" fmla="*/ 475431 w 1138598"/>
              <a:gd name="connsiteY38" fmla="*/ 0 h 467438"/>
              <a:gd name="connsiteX39" fmla="*/ 481469 w 1138598"/>
              <a:gd name="connsiteY39" fmla="*/ 0 h 467438"/>
              <a:gd name="connsiteX40" fmla="*/ 481478 w 1138598"/>
              <a:gd name="connsiteY40" fmla="*/ 0 h 467438"/>
              <a:gd name="connsiteX41" fmla="*/ 491325 w 1138598"/>
              <a:gd name="connsiteY41" fmla="*/ 0 h 467438"/>
              <a:gd name="connsiteX42" fmla="*/ 497363 w 1138598"/>
              <a:gd name="connsiteY42" fmla="*/ 0 h 467438"/>
              <a:gd name="connsiteX43" fmla="*/ 497373 w 1138598"/>
              <a:gd name="connsiteY43" fmla="*/ 0 h 467438"/>
              <a:gd name="connsiteX44" fmla="*/ 503722 w 1138598"/>
              <a:gd name="connsiteY44" fmla="*/ 0 h 467438"/>
              <a:gd name="connsiteX45" fmla="*/ 512649 w 1138598"/>
              <a:gd name="connsiteY45" fmla="*/ 0 h 467438"/>
              <a:gd name="connsiteX46" fmla="*/ 514426 w 1138598"/>
              <a:gd name="connsiteY46" fmla="*/ 0 h 467438"/>
              <a:gd name="connsiteX47" fmla="*/ 518999 w 1138598"/>
              <a:gd name="connsiteY47" fmla="*/ 0 h 467438"/>
              <a:gd name="connsiteX48" fmla="*/ 521751 w 1138598"/>
              <a:gd name="connsiteY48" fmla="*/ 0 h 467438"/>
              <a:gd name="connsiteX49" fmla="*/ 525046 w 1138598"/>
              <a:gd name="connsiteY49" fmla="*/ 0 h 467438"/>
              <a:gd name="connsiteX50" fmla="*/ 534892 w 1138598"/>
              <a:gd name="connsiteY50" fmla="*/ 0 h 467438"/>
              <a:gd name="connsiteX51" fmla="*/ 537028 w 1138598"/>
              <a:gd name="connsiteY51" fmla="*/ 0 h 467438"/>
              <a:gd name="connsiteX52" fmla="*/ 540940 w 1138598"/>
              <a:gd name="connsiteY52" fmla="*/ 0 h 467438"/>
              <a:gd name="connsiteX53" fmla="*/ 543075 w 1138598"/>
              <a:gd name="connsiteY53" fmla="*/ 0 h 467438"/>
              <a:gd name="connsiteX54" fmla="*/ 551956 w 1138598"/>
              <a:gd name="connsiteY54" fmla="*/ 0 h 467438"/>
              <a:gd name="connsiteX55" fmla="*/ 556217 w 1138598"/>
              <a:gd name="connsiteY55" fmla="*/ 0 h 467438"/>
              <a:gd name="connsiteX56" fmla="*/ 557994 w 1138598"/>
              <a:gd name="connsiteY56" fmla="*/ 0 h 467438"/>
              <a:gd name="connsiteX57" fmla="*/ 558003 w 1138598"/>
              <a:gd name="connsiteY57" fmla="*/ 0 h 467438"/>
              <a:gd name="connsiteX58" fmla="*/ 565318 w 1138598"/>
              <a:gd name="connsiteY58" fmla="*/ 0 h 467438"/>
              <a:gd name="connsiteX59" fmla="*/ 573280 w 1138598"/>
              <a:gd name="connsiteY59" fmla="*/ 0 h 467438"/>
              <a:gd name="connsiteX60" fmla="*/ 580595 w 1138598"/>
              <a:gd name="connsiteY60" fmla="*/ 0 h 467438"/>
              <a:gd name="connsiteX61" fmla="*/ 580605 w 1138598"/>
              <a:gd name="connsiteY61" fmla="*/ 0 h 467438"/>
              <a:gd name="connsiteX62" fmla="*/ 582382 w 1138598"/>
              <a:gd name="connsiteY62" fmla="*/ 0 h 467438"/>
              <a:gd name="connsiteX63" fmla="*/ 586642 w 1138598"/>
              <a:gd name="connsiteY63" fmla="*/ 0 h 467438"/>
              <a:gd name="connsiteX64" fmla="*/ 595524 w 1138598"/>
              <a:gd name="connsiteY64" fmla="*/ 0 h 467438"/>
              <a:gd name="connsiteX65" fmla="*/ 597658 w 1138598"/>
              <a:gd name="connsiteY65" fmla="*/ 0 h 467438"/>
              <a:gd name="connsiteX66" fmla="*/ 601571 w 1138598"/>
              <a:gd name="connsiteY66" fmla="*/ 0 h 467438"/>
              <a:gd name="connsiteX67" fmla="*/ 603706 w 1138598"/>
              <a:gd name="connsiteY67" fmla="*/ 0 h 467438"/>
              <a:gd name="connsiteX68" fmla="*/ 613553 w 1138598"/>
              <a:gd name="connsiteY68" fmla="*/ 0 h 467438"/>
              <a:gd name="connsiteX69" fmla="*/ 616848 w 1138598"/>
              <a:gd name="connsiteY69" fmla="*/ 0 h 467438"/>
              <a:gd name="connsiteX70" fmla="*/ 619600 w 1138598"/>
              <a:gd name="connsiteY70" fmla="*/ 0 h 467438"/>
              <a:gd name="connsiteX71" fmla="*/ 624172 w 1138598"/>
              <a:gd name="connsiteY71" fmla="*/ 0 h 467438"/>
              <a:gd name="connsiteX72" fmla="*/ 625950 w 1138598"/>
              <a:gd name="connsiteY72" fmla="*/ 0 h 467438"/>
              <a:gd name="connsiteX73" fmla="*/ 634877 w 1138598"/>
              <a:gd name="connsiteY73" fmla="*/ 0 h 467438"/>
              <a:gd name="connsiteX74" fmla="*/ 641226 w 1138598"/>
              <a:gd name="connsiteY74" fmla="*/ 0 h 467438"/>
              <a:gd name="connsiteX75" fmla="*/ 641235 w 1138598"/>
              <a:gd name="connsiteY75" fmla="*/ 0 h 467438"/>
              <a:gd name="connsiteX76" fmla="*/ 647274 w 1138598"/>
              <a:gd name="connsiteY76" fmla="*/ 0 h 467438"/>
              <a:gd name="connsiteX77" fmla="*/ 657120 w 1138598"/>
              <a:gd name="connsiteY77" fmla="*/ 0 h 467438"/>
              <a:gd name="connsiteX78" fmla="*/ 657130 w 1138598"/>
              <a:gd name="connsiteY78" fmla="*/ 0 h 467438"/>
              <a:gd name="connsiteX79" fmla="*/ 663167 w 1138598"/>
              <a:gd name="connsiteY79" fmla="*/ 0 h 467438"/>
              <a:gd name="connsiteX80" fmla="*/ 672406 w 1138598"/>
              <a:gd name="connsiteY80" fmla="*/ 0 h 467438"/>
              <a:gd name="connsiteX81" fmla="*/ 674183 w 1138598"/>
              <a:gd name="connsiteY81" fmla="*/ 0 h 467438"/>
              <a:gd name="connsiteX82" fmla="*/ 678444 w 1138598"/>
              <a:gd name="connsiteY82" fmla="*/ 0 h 467438"/>
              <a:gd name="connsiteX83" fmla="*/ 678454 w 1138598"/>
              <a:gd name="connsiteY83" fmla="*/ 0 h 467438"/>
              <a:gd name="connsiteX84" fmla="*/ 680230 w 1138598"/>
              <a:gd name="connsiteY84" fmla="*/ 0 h 467438"/>
              <a:gd name="connsiteX85" fmla="*/ 684803 w 1138598"/>
              <a:gd name="connsiteY85" fmla="*/ 0 h 467438"/>
              <a:gd name="connsiteX86" fmla="*/ 695507 w 1138598"/>
              <a:gd name="connsiteY86" fmla="*/ 0 h 467438"/>
              <a:gd name="connsiteX87" fmla="*/ 700697 w 1138598"/>
              <a:gd name="connsiteY87" fmla="*/ 0 h 467438"/>
              <a:gd name="connsiteX88" fmla="*/ 702832 w 1138598"/>
              <a:gd name="connsiteY88" fmla="*/ 0 h 467438"/>
              <a:gd name="connsiteX89" fmla="*/ 715974 w 1138598"/>
              <a:gd name="connsiteY89" fmla="*/ 0 h 467438"/>
              <a:gd name="connsiteX90" fmla="*/ 717751 w 1138598"/>
              <a:gd name="connsiteY90" fmla="*/ 0 h 467438"/>
              <a:gd name="connsiteX91" fmla="*/ 717760 w 1138598"/>
              <a:gd name="connsiteY91" fmla="*/ 0 h 467438"/>
              <a:gd name="connsiteX92" fmla="*/ 722021 w 1138598"/>
              <a:gd name="connsiteY92" fmla="*/ 0 h 467438"/>
              <a:gd name="connsiteX93" fmla="*/ 723798 w 1138598"/>
              <a:gd name="connsiteY93" fmla="*/ 0 h 467438"/>
              <a:gd name="connsiteX94" fmla="*/ 733037 w 1138598"/>
              <a:gd name="connsiteY94" fmla="*/ 0 h 467438"/>
              <a:gd name="connsiteX95" fmla="*/ 739075 w 1138598"/>
              <a:gd name="connsiteY95" fmla="*/ 0 h 467438"/>
              <a:gd name="connsiteX96" fmla="*/ 739084 w 1138598"/>
              <a:gd name="connsiteY96" fmla="*/ 0 h 467438"/>
              <a:gd name="connsiteX97" fmla="*/ 746399 w 1138598"/>
              <a:gd name="connsiteY97" fmla="*/ 0 h 467438"/>
              <a:gd name="connsiteX98" fmla="*/ 761328 w 1138598"/>
              <a:gd name="connsiteY98" fmla="*/ 0 h 467438"/>
              <a:gd name="connsiteX99" fmla="*/ 763463 w 1138598"/>
              <a:gd name="connsiteY99" fmla="*/ 0 h 467438"/>
              <a:gd name="connsiteX100" fmla="*/ 776605 w 1138598"/>
              <a:gd name="connsiteY100" fmla="*/ 0 h 467438"/>
              <a:gd name="connsiteX101" fmla="*/ 779357 w 1138598"/>
              <a:gd name="connsiteY101" fmla="*/ 0 h 467438"/>
              <a:gd name="connsiteX102" fmla="*/ 782652 w 1138598"/>
              <a:gd name="connsiteY102" fmla="*/ 0 h 467438"/>
              <a:gd name="connsiteX103" fmla="*/ 794634 w 1138598"/>
              <a:gd name="connsiteY103" fmla="*/ 0 h 467438"/>
              <a:gd name="connsiteX104" fmla="*/ 800681 w 1138598"/>
              <a:gd name="connsiteY104" fmla="*/ 0 h 467438"/>
              <a:gd name="connsiteX105" fmla="*/ 807031 w 1138598"/>
              <a:gd name="connsiteY105" fmla="*/ 0 h 467438"/>
              <a:gd name="connsiteX106" fmla="*/ 822924 w 1138598"/>
              <a:gd name="connsiteY106" fmla="*/ 0 h 467438"/>
              <a:gd name="connsiteX107" fmla="*/ 838201 w 1138598"/>
              <a:gd name="connsiteY107" fmla="*/ 0 h 467438"/>
              <a:gd name="connsiteX108" fmla="*/ 838211 w 1138598"/>
              <a:gd name="connsiteY108" fmla="*/ 0 h 467438"/>
              <a:gd name="connsiteX109" fmla="*/ 839987 w 1138598"/>
              <a:gd name="connsiteY109" fmla="*/ 0 h 467438"/>
              <a:gd name="connsiteX110" fmla="*/ 844248 w 1138598"/>
              <a:gd name="connsiteY110" fmla="*/ 0 h 467438"/>
              <a:gd name="connsiteX111" fmla="*/ 855264 w 1138598"/>
              <a:gd name="connsiteY111" fmla="*/ 0 h 467438"/>
              <a:gd name="connsiteX112" fmla="*/ 861311 w 1138598"/>
              <a:gd name="connsiteY112" fmla="*/ 0 h 467438"/>
              <a:gd name="connsiteX113" fmla="*/ 881778 w 1138598"/>
              <a:gd name="connsiteY113" fmla="*/ 0 h 467438"/>
              <a:gd name="connsiteX114" fmla="*/ 883555 w 1138598"/>
              <a:gd name="connsiteY114" fmla="*/ 0 h 467438"/>
              <a:gd name="connsiteX115" fmla="*/ 898832 w 1138598"/>
              <a:gd name="connsiteY115" fmla="*/ 0 h 467438"/>
              <a:gd name="connsiteX116" fmla="*/ 898841 w 1138598"/>
              <a:gd name="connsiteY116" fmla="*/ 0 h 467438"/>
              <a:gd name="connsiteX117" fmla="*/ 904879 w 1138598"/>
              <a:gd name="connsiteY117" fmla="*/ 0 h 467438"/>
              <a:gd name="connsiteX118" fmla="*/ 1138598 w 1138598"/>
              <a:gd name="connsiteY118" fmla="*/ 233720 h 467438"/>
              <a:gd name="connsiteX119" fmla="*/ 1138597 w 1138598"/>
              <a:gd name="connsiteY119" fmla="*/ 233720 h 467438"/>
              <a:gd name="connsiteX120" fmla="*/ 904879 w 1138598"/>
              <a:gd name="connsiteY120" fmla="*/ 467438 h 467438"/>
              <a:gd name="connsiteX121" fmla="*/ 898843 w 1138598"/>
              <a:gd name="connsiteY121" fmla="*/ 467438 h 467438"/>
              <a:gd name="connsiteX122" fmla="*/ 898840 w 1138598"/>
              <a:gd name="connsiteY122" fmla="*/ 467438 h 467438"/>
              <a:gd name="connsiteX123" fmla="*/ 898831 w 1138598"/>
              <a:gd name="connsiteY123" fmla="*/ 467438 h 467438"/>
              <a:gd name="connsiteX124" fmla="*/ 881778 w 1138598"/>
              <a:gd name="connsiteY124" fmla="*/ 467438 h 467438"/>
              <a:gd name="connsiteX125" fmla="*/ 881777 w 1138598"/>
              <a:gd name="connsiteY125" fmla="*/ 467438 h 467438"/>
              <a:gd name="connsiteX126" fmla="*/ 861313 w 1138598"/>
              <a:gd name="connsiteY126" fmla="*/ 467438 h 467438"/>
              <a:gd name="connsiteX127" fmla="*/ 861311 w 1138598"/>
              <a:gd name="connsiteY127" fmla="*/ 467438 h 467438"/>
              <a:gd name="connsiteX128" fmla="*/ 855266 w 1138598"/>
              <a:gd name="connsiteY128" fmla="*/ 467438 h 467438"/>
              <a:gd name="connsiteX129" fmla="*/ 855263 w 1138598"/>
              <a:gd name="connsiteY129" fmla="*/ 467438 h 467438"/>
              <a:gd name="connsiteX130" fmla="*/ 844248 w 1138598"/>
              <a:gd name="connsiteY130" fmla="*/ 467438 h 467438"/>
              <a:gd name="connsiteX131" fmla="*/ 844247 w 1138598"/>
              <a:gd name="connsiteY131" fmla="*/ 467438 h 467438"/>
              <a:gd name="connsiteX132" fmla="*/ 838212 w 1138598"/>
              <a:gd name="connsiteY132" fmla="*/ 467438 h 467438"/>
              <a:gd name="connsiteX133" fmla="*/ 838210 w 1138598"/>
              <a:gd name="connsiteY133" fmla="*/ 467438 h 467438"/>
              <a:gd name="connsiteX134" fmla="*/ 838201 w 1138598"/>
              <a:gd name="connsiteY134" fmla="*/ 467438 h 467438"/>
              <a:gd name="connsiteX135" fmla="*/ 838200 w 1138598"/>
              <a:gd name="connsiteY135" fmla="*/ 467438 h 467438"/>
              <a:gd name="connsiteX136" fmla="*/ 807030 w 1138598"/>
              <a:gd name="connsiteY136" fmla="*/ 467438 h 467438"/>
              <a:gd name="connsiteX137" fmla="*/ 800683 w 1138598"/>
              <a:gd name="connsiteY137" fmla="*/ 467438 h 467438"/>
              <a:gd name="connsiteX138" fmla="*/ 800680 w 1138598"/>
              <a:gd name="connsiteY138" fmla="*/ 467438 h 467438"/>
              <a:gd name="connsiteX139" fmla="*/ 794635 w 1138598"/>
              <a:gd name="connsiteY139" fmla="*/ 467438 h 467438"/>
              <a:gd name="connsiteX140" fmla="*/ 794633 w 1138598"/>
              <a:gd name="connsiteY140" fmla="*/ 467438 h 467438"/>
              <a:gd name="connsiteX141" fmla="*/ 782652 w 1138598"/>
              <a:gd name="connsiteY141" fmla="*/ 467438 h 467438"/>
              <a:gd name="connsiteX142" fmla="*/ 782651 w 1138598"/>
              <a:gd name="connsiteY142" fmla="*/ 467438 h 467438"/>
              <a:gd name="connsiteX143" fmla="*/ 776605 w 1138598"/>
              <a:gd name="connsiteY143" fmla="*/ 467438 h 467438"/>
              <a:gd name="connsiteX144" fmla="*/ 776604 w 1138598"/>
              <a:gd name="connsiteY144" fmla="*/ 467438 h 467438"/>
              <a:gd name="connsiteX145" fmla="*/ 763464 w 1138598"/>
              <a:gd name="connsiteY145" fmla="*/ 467438 h 467438"/>
              <a:gd name="connsiteX146" fmla="*/ 763462 w 1138598"/>
              <a:gd name="connsiteY146" fmla="*/ 467438 h 467438"/>
              <a:gd name="connsiteX147" fmla="*/ 746399 w 1138598"/>
              <a:gd name="connsiteY147" fmla="*/ 467438 h 467438"/>
              <a:gd name="connsiteX148" fmla="*/ 746399 w 1138598"/>
              <a:gd name="connsiteY148" fmla="*/ 467438 h 467438"/>
              <a:gd name="connsiteX149" fmla="*/ 739086 w 1138598"/>
              <a:gd name="connsiteY149" fmla="*/ 467438 h 467438"/>
              <a:gd name="connsiteX150" fmla="*/ 739083 w 1138598"/>
              <a:gd name="connsiteY150" fmla="*/ 467438 h 467438"/>
              <a:gd name="connsiteX151" fmla="*/ 739074 w 1138598"/>
              <a:gd name="connsiteY151" fmla="*/ 467438 h 467438"/>
              <a:gd name="connsiteX152" fmla="*/ 733038 w 1138598"/>
              <a:gd name="connsiteY152" fmla="*/ 467438 h 467438"/>
              <a:gd name="connsiteX153" fmla="*/ 733036 w 1138598"/>
              <a:gd name="connsiteY153" fmla="*/ 467438 h 467438"/>
              <a:gd name="connsiteX154" fmla="*/ 722021 w 1138598"/>
              <a:gd name="connsiteY154" fmla="*/ 467438 h 467438"/>
              <a:gd name="connsiteX155" fmla="*/ 722020 w 1138598"/>
              <a:gd name="connsiteY155" fmla="*/ 467438 h 467438"/>
              <a:gd name="connsiteX156" fmla="*/ 715974 w 1138598"/>
              <a:gd name="connsiteY156" fmla="*/ 467438 h 467438"/>
              <a:gd name="connsiteX157" fmla="*/ 715973 w 1138598"/>
              <a:gd name="connsiteY157" fmla="*/ 467438 h 467438"/>
              <a:gd name="connsiteX158" fmla="*/ 702834 w 1138598"/>
              <a:gd name="connsiteY158" fmla="*/ 467438 h 467438"/>
              <a:gd name="connsiteX159" fmla="*/ 702832 w 1138598"/>
              <a:gd name="connsiteY159" fmla="*/ 467438 h 467438"/>
              <a:gd name="connsiteX160" fmla="*/ 695509 w 1138598"/>
              <a:gd name="connsiteY160" fmla="*/ 467438 h 467438"/>
              <a:gd name="connsiteX161" fmla="*/ 695506 w 1138598"/>
              <a:gd name="connsiteY161" fmla="*/ 467438 h 467438"/>
              <a:gd name="connsiteX162" fmla="*/ 684803 w 1138598"/>
              <a:gd name="connsiteY162" fmla="*/ 467438 h 467438"/>
              <a:gd name="connsiteX163" fmla="*/ 684803 w 1138598"/>
              <a:gd name="connsiteY163" fmla="*/ 467438 h 467438"/>
              <a:gd name="connsiteX164" fmla="*/ 678455 w 1138598"/>
              <a:gd name="connsiteY164" fmla="*/ 467438 h 467438"/>
              <a:gd name="connsiteX165" fmla="*/ 678453 w 1138598"/>
              <a:gd name="connsiteY165" fmla="*/ 467438 h 467438"/>
              <a:gd name="connsiteX166" fmla="*/ 678444 w 1138598"/>
              <a:gd name="connsiteY166" fmla="*/ 467438 h 467438"/>
              <a:gd name="connsiteX167" fmla="*/ 678443 w 1138598"/>
              <a:gd name="connsiteY167" fmla="*/ 467438 h 467438"/>
              <a:gd name="connsiteX168" fmla="*/ 672407 w 1138598"/>
              <a:gd name="connsiteY168" fmla="*/ 467438 h 467438"/>
              <a:gd name="connsiteX169" fmla="*/ 672406 w 1138598"/>
              <a:gd name="connsiteY169" fmla="*/ 467438 h 467438"/>
              <a:gd name="connsiteX170" fmla="*/ 647273 w 1138598"/>
              <a:gd name="connsiteY170" fmla="*/ 467438 h 467438"/>
              <a:gd name="connsiteX171" fmla="*/ 641237 w 1138598"/>
              <a:gd name="connsiteY171" fmla="*/ 467438 h 467438"/>
              <a:gd name="connsiteX172" fmla="*/ 641235 w 1138598"/>
              <a:gd name="connsiteY172" fmla="*/ 467438 h 467438"/>
              <a:gd name="connsiteX173" fmla="*/ 641225 w 1138598"/>
              <a:gd name="connsiteY173" fmla="*/ 467438 h 467438"/>
              <a:gd name="connsiteX174" fmla="*/ 634878 w 1138598"/>
              <a:gd name="connsiteY174" fmla="*/ 467438 h 467438"/>
              <a:gd name="connsiteX175" fmla="*/ 634876 w 1138598"/>
              <a:gd name="connsiteY175" fmla="*/ 467438 h 467438"/>
              <a:gd name="connsiteX176" fmla="*/ 624172 w 1138598"/>
              <a:gd name="connsiteY176" fmla="*/ 467438 h 467438"/>
              <a:gd name="connsiteX177" fmla="*/ 624171 w 1138598"/>
              <a:gd name="connsiteY177" fmla="*/ 467438 h 467438"/>
              <a:gd name="connsiteX178" fmla="*/ 616848 w 1138598"/>
              <a:gd name="connsiteY178" fmla="*/ 467438 h 467438"/>
              <a:gd name="connsiteX179" fmla="*/ 616847 w 1138598"/>
              <a:gd name="connsiteY179" fmla="*/ 467438 h 467438"/>
              <a:gd name="connsiteX180" fmla="*/ 603707 w 1138598"/>
              <a:gd name="connsiteY180" fmla="*/ 467438 h 467438"/>
              <a:gd name="connsiteX181" fmla="*/ 603705 w 1138598"/>
              <a:gd name="connsiteY181" fmla="*/ 467438 h 467438"/>
              <a:gd name="connsiteX182" fmla="*/ 597660 w 1138598"/>
              <a:gd name="connsiteY182" fmla="*/ 467438 h 467438"/>
              <a:gd name="connsiteX183" fmla="*/ 597657 w 1138598"/>
              <a:gd name="connsiteY183" fmla="*/ 467438 h 467438"/>
              <a:gd name="connsiteX184" fmla="*/ 586642 w 1138598"/>
              <a:gd name="connsiteY184" fmla="*/ 467438 h 467438"/>
              <a:gd name="connsiteX185" fmla="*/ 586642 w 1138598"/>
              <a:gd name="connsiteY185" fmla="*/ 467438 h 467438"/>
              <a:gd name="connsiteX186" fmla="*/ 580606 w 1138598"/>
              <a:gd name="connsiteY186" fmla="*/ 467438 h 467438"/>
              <a:gd name="connsiteX187" fmla="*/ 580604 w 1138598"/>
              <a:gd name="connsiteY187" fmla="*/ 467438 h 467438"/>
              <a:gd name="connsiteX188" fmla="*/ 580595 w 1138598"/>
              <a:gd name="connsiteY188" fmla="*/ 467438 h 467438"/>
              <a:gd name="connsiteX189" fmla="*/ 580594 w 1138598"/>
              <a:gd name="connsiteY189" fmla="*/ 467438 h 467438"/>
              <a:gd name="connsiteX190" fmla="*/ 573281 w 1138598"/>
              <a:gd name="connsiteY190" fmla="*/ 467438 h 467438"/>
              <a:gd name="connsiteX191" fmla="*/ 573279 w 1138598"/>
              <a:gd name="connsiteY191" fmla="*/ 467438 h 467438"/>
              <a:gd name="connsiteX192" fmla="*/ 556217 w 1138598"/>
              <a:gd name="connsiteY192" fmla="*/ 467438 h 467438"/>
              <a:gd name="connsiteX193" fmla="*/ 556216 w 1138598"/>
              <a:gd name="connsiteY193" fmla="*/ 467438 h 467438"/>
              <a:gd name="connsiteX194" fmla="*/ 543077 w 1138598"/>
              <a:gd name="connsiteY194" fmla="*/ 467438 h 467438"/>
              <a:gd name="connsiteX195" fmla="*/ 543075 w 1138598"/>
              <a:gd name="connsiteY195" fmla="*/ 467438 h 467438"/>
              <a:gd name="connsiteX196" fmla="*/ 537030 w 1138598"/>
              <a:gd name="connsiteY196" fmla="*/ 467438 h 467438"/>
              <a:gd name="connsiteX197" fmla="*/ 537027 w 1138598"/>
              <a:gd name="connsiteY197" fmla="*/ 467438 h 467438"/>
              <a:gd name="connsiteX198" fmla="*/ 525046 w 1138598"/>
              <a:gd name="connsiteY198" fmla="*/ 467438 h 467438"/>
              <a:gd name="connsiteX199" fmla="*/ 525046 w 1138598"/>
              <a:gd name="connsiteY199" fmla="*/ 467438 h 467438"/>
              <a:gd name="connsiteX200" fmla="*/ 518999 w 1138598"/>
              <a:gd name="connsiteY200" fmla="*/ 467438 h 467438"/>
              <a:gd name="connsiteX201" fmla="*/ 518998 w 1138598"/>
              <a:gd name="connsiteY201" fmla="*/ 467438 h 467438"/>
              <a:gd name="connsiteX202" fmla="*/ 512650 w 1138598"/>
              <a:gd name="connsiteY202" fmla="*/ 467438 h 467438"/>
              <a:gd name="connsiteX203" fmla="*/ 512649 w 1138598"/>
              <a:gd name="connsiteY203" fmla="*/ 467438 h 467438"/>
              <a:gd name="connsiteX204" fmla="*/ 481480 w 1138598"/>
              <a:gd name="connsiteY204" fmla="*/ 467438 h 467438"/>
              <a:gd name="connsiteX205" fmla="*/ 481478 w 1138598"/>
              <a:gd name="connsiteY205" fmla="*/ 467438 h 467438"/>
              <a:gd name="connsiteX206" fmla="*/ 481468 w 1138598"/>
              <a:gd name="connsiteY206" fmla="*/ 467438 h 467438"/>
              <a:gd name="connsiteX207" fmla="*/ 475433 w 1138598"/>
              <a:gd name="connsiteY207" fmla="*/ 467438 h 467438"/>
              <a:gd name="connsiteX208" fmla="*/ 475430 w 1138598"/>
              <a:gd name="connsiteY208" fmla="*/ 467438 h 467438"/>
              <a:gd name="connsiteX209" fmla="*/ 464415 w 1138598"/>
              <a:gd name="connsiteY209" fmla="*/ 467438 h 467438"/>
              <a:gd name="connsiteX210" fmla="*/ 464414 w 1138598"/>
              <a:gd name="connsiteY210" fmla="*/ 467438 h 467438"/>
              <a:gd name="connsiteX211" fmla="*/ 458368 w 1138598"/>
              <a:gd name="connsiteY211" fmla="*/ 467438 h 467438"/>
              <a:gd name="connsiteX212" fmla="*/ 458367 w 1138598"/>
              <a:gd name="connsiteY212" fmla="*/ 467438 h 467438"/>
              <a:gd name="connsiteX213" fmla="*/ 437903 w 1138598"/>
              <a:gd name="connsiteY213" fmla="*/ 467438 h 467438"/>
              <a:gd name="connsiteX214" fmla="*/ 437900 w 1138598"/>
              <a:gd name="connsiteY214" fmla="*/ 467438 h 467438"/>
              <a:gd name="connsiteX215" fmla="*/ 420849 w 1138598"/>
              <a:gd name="connsiteY215" fmla="*/ 467438 h 467438"/>
              <a:gd name="connsiteX216" fmla="*/ 420847 w 1138598"/>
              <a:gd name="connsiteY216" fmla="*/ 467438 h 467438"/>
              <a:gd name="connsiteX217" fmla="*/ 420838 w 1138598"/>
              <a:gd name="connsiteY217" fmla="*/ 467438 h 467438"/>
              <a:gd name="connsiteX218" fmla="*/ 420837 w 1138598"/>
              <a:gd name="connsiteY218" fmla="*/ 467438 h 467438"/>
              <a:gd name="connsiteX219" fmla="*/ 414802 w 1138598"/>
              <a:gd name="connsiteY219" fmla="*/ 467438 h 467438"/>
              <a:gd name="connsiteX220" fmla="*/ 414800 w 1138598"/>
              <a:gd name="connsiteY220" fmla="*/ 467438 h 467438"/>
              <a:gd name="connsiteX221" fmla="*/ 233720 w 1138598"/>
              <a:gd name="connsiteY221" fmla="*/ 467437 h 467438"/>
              <a:gd name="connsiteX222" fmla="*/ 4748 w 1138598"/>
              <a:gd name="connsiteY222" fmla="*/ 280821 h 467438"/>
              <a:gd name="connsiteX223" fmla="*/ 0 w 1138598"/>
              <a:gd name="connsiteY223" fmla="*/ 233720 h 467438"/>
              <a:gd name="connsiteX224" fmla="*/ 4748 w 1138598"/>
              <a:gd name="connsiteY224" fmla="*/ 186617 h 467438"/>
              <a:gd name="connsiteX225" fmla="*/ 233720 w 1138598"/>
              <a:gd name="connsiteY225" fmla="*/ 0 h 4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</a:cxnLst>
            <a:rect l="l" t="t" r="r" b="b"/>
            <a:pathLst>
              <a:path w="1138598" h="467438">
                <a:moveTo>
                  <a:pt x="233720" y="0"/>
                </a:moveTo>
                <a:lnTo>
                  <a:pt x="239757" y="0"/>
                </a:lnTo>
                <a:lnTo>
                  <a:pt x="239767" y="0"/>
                </a:lnTo>
                <a:lnTo>
                  <a:pt x="255044" y="0"/>
                </a:lnTo>
                <a:lnTo>
                  <a:pt x="256820" y="0"/>
                </a:lnTo>
                <a:lnTo>
                  <a:pt x="277287" y="0"/>
                </a:lnTo>
                <a:lnTo>
                  <a:pt x="283334" y="0"/>
                </a:lnTo>
                <a:lnTo>
                  <a:pt x="294350" y="0"/>
                </a:lnTo>
                <a:lnTo>
                  <a:pt x="298611" y="0"/>
                </a:lnTo>
                <a:lnTo>
                  <a:pt x="300388" y="0"/>
                </a:lnTo>
                <a:lnTo>
                  <a:pt x="300397" y="0"/>
                </a:lnTo>
                <a:lnTo>
                  <a:pt x="315674" y="0"/>
                </a:lnTo>
                <a:lnTo>
                  <a:pt x="331568" y="0"/>
                </a:lnTo>
                <a:lnTo>
                  <a:pt x="337918" y="0"/>
                </a:lnTo>
                <a:lnTo>
                  <a:pt x="343965" y="0"/>
                </a:lnTo>
                <a:lnTo>
                  <a:pt x="355947" y="0"/>
                </a:lnTo>
                <a:lnTo>
                  <a:pt x="359242" y="0"/>
                </a:lnTo>
                <a:lnTo>
                  <a:pt x="361994" y="0"/>
                </a:lnTo>
                <a:lnTo>
                  <a:pt x="375135" y="0"/>
                </a:lnTo>
                <a:lnTo>
                  <a:pt x="377271" y="0"/>
                </a:lnTo>
                <a:lnTo>
                  <a:pt x="392199" y="0"/>
                </a:lnTo>
                <a:lnTo>
                  <a:pt x="399514" y="0"/>
                </a:lnTo>
                <a:lnTo>
                  <a:pt x="399524" y="0"/>
                </a:lnTo>
                <a:lnTo>
                  <a:pt x="405561" y="0"/>
                </a:lnTo>
                <a:lnTo>
                  <a:pt x="414801" y="0"/>
                </a:lnTo>
                <a:lnTo>
                  <a:pt x="416577" y="0"/>
                </a:lnTo>
                <a:lnTo>
                  <a:pt x="420838" y="0"/>
                </a:lnTo>
                <a:lnTo>
                  <a:pt x="420848" y="0"/>
                </a:lnTo>
                <a:lnTo>
                  <a:pt x="422625" y="0"/>
                </a:lnTo>
                <a:lnTo>
                  <a:pt x="435767" y="0"/>
                </a:lnTo>
                <a:lnTo>
                  <a:pt x="437901" y="0"/>
                </a:lnTo>
                <a:lnTo>
                  <a:pt x="443091" y="0"/>
                </a:lnTo>
                <a:lnTo>
                  <a:pt x="453796" y="0"/>
                </a:lnTo>
                <a:lnTo>
                  <a:pt x="458368" y="0"/>
                </a:lnTo>
                <a:lnTo>
                  <a:pt x="460145" y="0"/>
                </a:lnTo>
                <a:lnTo>
                  <a:pt x="460154" y="0"/>
                </a:lnTo>
                <a:lnTo>
                  <a:pt x="464415" y="0"/>
                </a:lnTo>
                <a:lnTo>
                  <a:pt x="466193" y="0"/>
                </a:lnTo>
                <a:lnTo>
                  <a:pt x="475431" y="0"/>
                </a:lnTo>
                <a:lnTo>
                  <a:pt x="481469" y="0"/>
                </a:lnTo>
                <a:lnTo>
                  <a:pt x="481478" y="0"/>
                </a:lnTo>
                <a:lnTo>
                  <a:pt x="491325" y="0"/>
                </a:lnTo>
                <a:lnTo>
                  <a:pt x="497363" y="0"/>
                </a:lnTo>
                <a:lnTo>
                  <a:pt x="497373" y="0"/>
                </a:lnTo>
                <a:lnTo>
                  <a:pt x="503722" y="0"/>
                </a:lnTo>
                <a:lnTo>
                  <a:pt x="512649" y="0"/>
                </a:lnTo>
                <a:lnTo>
                  <a:pt x="514426" y="0"/>
                </a:lnTo>
                <a:lnTo>
                  <a:pt x="518999" y="0"/>
                </a:lnTo>
                <a:lnTo>
                  <a:pt x="521751" y="0"/>
                </a:lnTo>
                <a:lnTo>
                  <a:pt x="525046" y="0"/>
                </a:lnTo>
                <a:lnTo>
                  <a:pt x="534892" y="0"/>
                </a:lnTo>
                <a:lnTo>
                  <a:pt x="537028" y="0"/>
                </a:lnTo>
                <a:lnTo>
                  <a:pt x="540940" y="0"/>
                </a:lnTo>
                <a:lnTo>
                  <a:pt x="543075" y="0"/>
                </a:lnTo>
                <a:lnTo>
                  <a:pt x="551956" y="0"/>
                </a:lnTo>
                <a:lnTo>
                  <a:pt x="556217" y="0"/>
                </a:lnTo>
                <a:lnTo>
                  <a:pt x="557994" y="0"/>
                </a:lnTo>
                <a:lnTo>
                  <a:pt x="558003" y="0"/>
                </a:lnTo>
                <a:lnTo>
                  <a:pt x="565318" y="0"/>
                </a:lnTo>
                <a:lnTo>
                  <a:pt x="573280" y="0"/>
                </a:lnTo>
                <a:lnTo>
                  <a:pt x="580595" y="0"/>
                </a:lnTo>
                <a:lnTo>
                  <a:pt x="580605" y="0"/>
                </a:lnTo>
                <a:lnTo>
                  <a:pt x="582382" y="0"/>
                </a:lnTo>
                <a:lnTo>
                  <a:pt x="586642" y="0"/>
                </a:lnTo>
                <a:lnTo>
                  <a:pt x="595524" y="0"/>
                </a:lnTo>
                <a:lnTo>
                  <a:pt x="597658" y="0"/>
                </a:lnTo>
                <a:lnTo>
                  <a:pt x="601571" y="0"/>
                </a:lnTo>
                <a:lnTo>
                  <a:pt x="603706" y="0"/>
                </a:lnTo>
                <a:lnTo>
                  <a:pt x="613553" y="0"/>
                </a:lnTo>
                <a:lnTo>
                  <a:pt x="616848" y="0"/>
                </a:lnTo>
                <a:lnTo>
                  <a:pt x="619600" y="0"/>
                </a:lnTo>
                <a:lnTo>
                  <a:pt x="624172" y="0"/>
                </a:lnTo>
                <a:lnTo>
                  <a:pt x="625950" y="0"/>
                </a:lnTo>
                <a:lnTo>
                  <a:pt x="634877" y="0"/>
                </a:lnTo>
                <a:lnTo>
                  <a:pt x="641226" y="0"/>
                </a:lnTo>
                <a:lnTo>
                  <a:pt x="641235" y="0"/>
                </a:lnTo>
                <a:lnTo>
                  <a:pt x="647274" y="0"/>
                </a:lnTo>
                <a:lnTo>
                  <a:pt x="657120" y="0"/>
                </a:lnTo>
                <a:lnTo>
                  <a:pt x="657130" y="0"/>
                </a:lnTo>
                <a:lnTo>
                  <a:pt x="663167" y="0"/>
                </a:lnTo>
                <a:lnTo>
                  <a:pt x="672406" y="0"/>
                </a:lnTo>
                <a:lnTo>
                  <a:pt x="674183" y="0"/>
                </a:lnTo>
                <a:lnTo>
                  <a:pt x="678444" y="0"/>
                </a:lnTo>
                <a:lnTo>
                  <a:pt x="678454" y="0"/>
                </a:lnTo>
                <a:lnTo>
                  <a:pt x="680230" y="0"/>
                </a:lnTo>
                <a:lnTo>
                  <a:pt x="684803" y="0"/>
                </a:lnTo>
                <a:lnTo>
                  <a:pt x="695507" y="0"/>
                </a:lnTo>
                <a:lnTo>
                  <a:pt x="700697" y="0"/>
                </a:lnTo>
                <a:lnTo>
                  <a:pt x="702832" y="0"/>
                </a:lnTo>
                <a:lnTo>
                  <a:pt x="715974" y="0"/>
                </a:lnTo>
                <a:lnTo>
                  <a:pt x="717751" y="0"/>
                </a:lnTo>
                <a:lnTo>
                  <a:pt x="717760" y="0"/>
                </a:lnTo>
                <a:lnTo>
                  <a:pt x="722021" y="0"/>
                </a:lnTo>
                <a:lnTo>
                  <a:pt x="723798" y="0"/>
                </a:lnTo>
                <a:lnTo>
                  <a:pt x="733037" y="0"/>
                </a:lnTo>
                <a:lnTo>
                  <a:pt x="739075" y="0"/>
                </a:lnTo>
                <a:lnTo>
                  <a:pt x="739084" y="0"/>
                </a:lnTo>
                <a:lnTo>
                  <a:pt x="746399" y="0"/>
                </a:lnTo>
                <a:lnTo>
                  <a:pt x="761328" y="0"/>
                </a:lnTo>
                <a:lnTo>
                  <a:pt x="763463" y="0"/>
                </a:lnTo>
                <a:lnTo>
                  <a:pt x="776605" y="0"/>
                </a:lnTo>
                <a:lnTo>
                  <a:pt x="779357" y="0"/>
                </a:lnTo>
                <a:lnTo>
                  <a:pt x="782652" y="0"/>
                </a:lnTo>
                <a:lnTo>
                  <a:pt x="794634" y="0"/>
                </a:lnTo>
                <a:lnTo>
                  <a:pt x="800681" y="0"/>
                </a:lnTo>
                <a:lnTo>
                  <a:pt x="807031" y="0"/>
                </a:lnTo>
                <a:lnTo>
                  <a:pt x="822924" y="0"/>
                </a:lnTo>
                <a:lnTo>
                  <a:pt x="838201" y="0"/>
                </a:lnTo>
                <a:lnTo>
                  <a:pt x="838211" y="0"/>
                </a:lnTo>
                <a:lnTo>
                  <a:pt x="839987" y="0"/>
                </a:lnTo>
                <a:lnTo>
                  <a:pt x="844248" y="0"/>
                </a:lnTo>
                <a:lnTo>
                  <a:pt x="855264" y="0"/>
                </a:lnTo>
                <a:lnTo>
                  <a:pt x="861311" y="0"/>
                </a:lnTo>
                <a:lnTo>
                  <a:pt x="881778" y="0"/>
                </a:lnTo>
                <a:lnTo>
                  <a:pt x="883555" y="0"/>
                </a:lnTo>
                <a:lnTo>
                  <a:pt x="898832" y="0"/>
                </a:lnTo>
                <a:lnTo>
                  <a:pt x="898841" y="0"/>
                </a:lnTo>
                <a:lnTo>
                  <a:pt x="904879" y="0"/>
                </a:lnTo>
                <a:cubicBezTo>
                  <a:pt x="1033959" y="0"/>
                  <a:pt x="1138598" y="104640"/>
                  <a:pt x="1138598" y="233720"/>
                </a:cubicBezTo>
                <a:lnTo>
                  <a:pt x="1138597" y="233720"/>
                </a:lnTo>
                <a:cubicBezTo>
                  <a:pt x="1138597" y="362799"/>
                  <a:pt x="1033958" y="467438"/>
                  <a:pt x="904879" y="467438"/>
                </a:cubicBezTo>
                <a:lnTo>
                  <a:pt x="898843" y="467438"/>
                </a:lnTo>
                <a:lnTo>
                  <a:pt x="898840" y="467438"/>
                </a:lnTo>
                <a:lnTo>
                  <a:pt x="898831" y="467438"/>
                </a:lnTo>
                <a:lnTo>
                  <a:pt x="881778" y="467438"/>
                </a:lnTo>
                <a:lnTo>
                  <a:pt x="881777" y="467438"/>
                </a:lnTo>
                <a:lnTo>
                  <a:pt x="861313" y="467438"/>
                </a:lnTo>
                <a:lnTo>
                  <a:pt x="861311" y="467438"/>
                </a:lnTo>
                <a:lnTo>
                  <a:pt x="855266" y="467438"/>
                </a:lnTo>
                <a:lnTo>
                  <a:pt x="855263" y="467438"/>
                </a:lnTo>
                <a:lnTo>
                  <a:pt x="844248" y="467438"/>
                </a:lnTo>
                <a:lnTo>
                  <a:pt x="844247" y="467438"/>
                </a:lnTo>
                <a:lnTo>
                  <a:pt x="838212" y="467438"/>
                </a:lnTo>
                <a:lnTo>
                  <a:pt x="838210" y="467438"/>
                </a:lnTo>
                <a:lnTo>
                  <a:pt x="838201" y="467438"/>
                </a:lnTo>
                <a:lnTo>
                  <a:pt x="838200" y="467438"/>
                </a:lnTo>
                <a:lnTo>
                  <a:pt x="807030" y="467438"/>
                </a:lnTo>
                <a:lnTo>
                  <a:pt x="800683" y="467438"/>
                </a:lnTo>
                <a:lnTo>
                  <a:pt x="800680" y="467438"/>
                </a:lnTo>
                <a:lnTo>
                  <a:pt x="794635" y="467438"/>
                </a:lnTo>
                <a:lnTo>
                  <a:pt x="794633" y="467438"/>
                </a:lnTo>
                <a:lnTo>
                  <a:pt x="782652" y="467438"/>
                </a:lnTo>
                <a:lnTo>
                  <a:pt x="782651" y="467438"/>
                </a:lnTo>
                <a:lnTo>
                  <a:pt x="776605" y="467438"/>
                </a:lnTo>
                <a:lnTo>
                  <a:pt x="776604" y="467438"/>
                </a:lnTo>
                <a:lnTo>
                  <a:pt x="763464" y="467438"/>
                </a:lnTo>
                <a:lnTo>
                  <a:pt x="763462" y="467438"/>
                </a:lnTo>
                <a:lnTo>
                  <a:pt x="746399" y="467438"/>
                </a:lnTo>
                <a:lnTo>
                  <a:pt x="746399" y="467438"/>
                </a:lnTo>
                <a:lnTo>
                  <a:pt x="739086" y="467438"/>
                </a:lnTo>
                <a:lnTo>
                  <a:pt x="739083" y="467438"/>
                </a:lnTo>
                <a:lnTo>
                  <a:pt x="739074" y="467438"/>
                </a:lnTo>
                <a:lnTo>
                  <a:pt x="733038" y="467438"/>
                </a:lnTo>
                <a:lnTo>
                  <a:pt x="733036" y="467438"/>
                </a:lnTo>
                <a:lnTo>
                  <a:pt x="722021" y="467438"/>
                </a:lnTo>
                <a:lnTo>
                  <a:pt x="722020" y="467438"/>
                </a:lnTo>
                <a:lnTo>
                  <a:pt x="715974" y="467438"/>
                </a:lnTo>
                <a:lnTo>
                  <a:pt x="715973" y="467438"/>
                </a:lnTo>
                <a:lnTo>
                  <a:pt x="702834" y="467438"/>
                </a:lnTo>
                <a:lnTo>
                  <a:pt x="702832" y="467438"/>
                </a:lnTo>
                <a:lnTo>
                  <a:pt x="695509" y="467438"/>
                </a:lnTo>
                <a:lnTo>
                  <a:pt x="695506" y="467438"/>
                </a:lnTo>
                <a:lnTo>
                  <a:pt x="684803" y="467438"/>
                </a:lnTo>
                <a:lnTo>
                  <a:pt x="684803" y="467438"/>
                </a:lnTo>
                <a:lnTo>
                  <a:pt x="678455" y="467438"/>
                </a:lnTo>
                <a:lnTo>
                  <a:pt x="678453" y="467438"/>
                </a:lnTo>
                <a:lnTo>
                  <a:pt x="678444" y="467438"/>
                </a:lnTo>
                <a:lnTo>
                  <a:pt x="678443" y="467438"/>
                </a:lnTo>
                <a:lnTo>
                  <a:pt x="672407" y="467438"/>
                </a:lnTo>
                <a:lnTo>
                  <a:pt x="672406" y="467438"/>
                </a:lnTo>
                <a:lnTo>
                  <a:pt x="647273" y="467438"/>
                </a:lnTo>
                <a:lnTo>
                  <a:pt x="641237" y="467438"/>
                </a:lnTo>
                <a:lnTo>
                  <a:pt x="641235" y="467438"/>
                </a:lnTo>
                <a:lnTo>
                  <a:pt x="641225" y="467438"/>
                </a:lnTo>
                <a:lnTo>
                  <a:pt x="634878" y="467438"/>
                </a:lnTo>
                <a:lnTo>
                  <a:pt x="634876" y="467438"/>
                </a:lnTo>
                <a:lnTo>
                  <a:pt x="624172" y="467438"/>
                </a:lnTo>
                <a:lnTo>
                  <a:pt x="624171" y="467438"/>
                </a:lnTo>
                <a:lnTo>
                  <a:pt x="616848" y="467438"/>
                </a:lnTo>
                <a:lnTo>
                  <a:pt x="616847" y="467438"/>
                </a:lnTo>
                <a:lnTo>
                  <a:pt x="603707" y="467438"/>
                </a:lnTo>
                <a:lnTo>
                  <a:pt x="603705" y="467438"/>
                </a:lnTo>
                <a:lnTo>
                  <a:pt x="597660" y="467438"/>
                </a:lnTo>
                <a:lnTo>
                  <a:pt x="597657" y="467438"/>
                </a:lnTo>
                <a:lnTo>
                  <a:pt x="586642" y="467438"/>
                </a:lnTo>
                <a:lnTo>
                  <a:pt x="586642" y="467438"/>
                </a:lnTo>
                <a:lnTo>
                  <a:pt x="580606" y="467438"/>
                </a:lnTo>
                <a:lnTo>
                  <a:pt x="580604" y="467438"/>
                </a:lnTo>
                <a:lnTo>
                  <a:pt x="580595" y="467438"/>
                </a:lnTo>
                <a:lnTo>
                  <a:pt x="580594" y="467438"/>
                </a:lnTo>
                <a:lnTo>
                  <a:pt x="573281" y="467438"/>
                </a:lnTo>
                <a:lnTo>
                  <a:pt x="573279" y="467438"/>
                </a:lnTo>
                <a:lnTo>
                  <a:pt x="556217" y="467438"/>
                </a:lnTo>
                <a:lnTo>
                  <a:pt x="556216" y="467438"/>
                </a:lnTo>
                <a:lnTo>
                  <a:pt x="543077" y="467438"/>
                </a:lnTo>
                <a:lnTo>
                  <a:pt x="543075" y="467438"/>
                </a:lnTo>
                <a:lnTo>
                  <a:pt x="537030" y="467438"/>
                </a:lnTo>
                <a:lnTo>
                  <a:pt x="537027" y="467438"/>
                </a:lnTo>
                <a:lnTo>
                  <a:pt x="525046" y="467438"/>
                </a:lnTo>
                <a:lnTo>
                  <a:pt x="525046" y="467438"/>
                </a:lnTo>
                <a:lnTo>
                  <a:pt x="518999" y="467438"/>
                </a:lnTo>
                <a:lnTo>
                  <a:pt x="518998" y="467438"/>
                </a:lnTo>
                <a:lnTo>
                  <a:pt x="512650" y="467438"/>
                </a:lnTo>
                <a:lnTo>
                  <a:pt x="512649" y="467438"/>
                </a:lnTo>
                <a:lnTo>
                  <a:pt x="481480" y="467438"/>
                </a:lnTo>
                <a:lnTo>
                  <a:pt x="481478" y="467438"/>
                </a:lnTo>
                <a:lnTo>
                  <a:pt x="481468" y="467438"/>
                </a:lnTo>
                <a:lnTo>
                  <a:pt x="475433" y="467438"/>
                </a:lnTo>
                <a:lnTo>
                  <a:pt x="475430" y="467438"/>
                </a:lnTo>
                <a:lnTo>
                  <a:pt x="464415" y="467438"/>
                </a:lnTo>
                <a:lnTo>
                  <a:pt x="464414" y="467438"/>
                </a:lnTo>
                <a:lnTo>
                  <a:pt x="458368" y="467438"/>
                </a:lnTo>
                <a:lnTo>
                  <a:pt x="458367" y="467438"/>
                </a:lnTo>
                <a:lnTo>
                  <a:pt x="437903" y="467438"/>
                </a:lnTo>
                <a:lnTo>
                  <a:pt x="437900" y="467438"/>
                </a:lnTo>
                <a:lnTo>
                  <a:pt x="420849" y="467438"/>
                </a:lnTo>
                <a:lnTo>
                  <a:pt x="420847" y="467438"/>
                </a:lnTo>
                <a:lnTo>
                  <a:pt x="420838" y="467438"/>
                </a:lnTo>
                <a:lnTo>
                  <a:pt x="420837" y="467438"/>
                </a:lnTo>
                <a:lnTo>
                  <a:pt x="414802" y="467438"/>
                </a:lnTo>
                <a:lnTo>
                  <a:pt x="414800" y="467438"/>
                </a:lnTo>
                <a:lnTo>
                  <a:pt x="233720" y="467437"/>
                </a:lnTo>
                <a:cubicBezTo>
                  <a:pt x="120774" y="467437"/>
                  <a:pt x="26542" y="387323"/>
                  <a:pt x="4748" y="280821"/>
                </a:cubicBezTo>
                <a:lnTo>
                  <a:pt x="0" y="233720"/>
                </a:lnTo>
                <a:lnTo>
                  <a:pt x="4748" y="186617"/>
                </a:lnTo>
                <a:cubicBezTo>
                  <a:pt x="26542" y="80115"/>
                  <a:pt x="120774" y="0"/>
                  <a:pt x="233720" y="0"/>
                </a:cubicBezTo>
                <a:close/>
              </a:path>
            </a:pathLst>
          </a:custGeom>
          <a:noFill/>
          <a:ln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1" name="Полилиния 50"/>
          <p:cNvSpPr/>
          <p:nvPr/>
        </p:nvSpPr>
        <p:spPr>
          <a:xfrm>
            <a:off x="8820739" y="2945536"/>
            <a:ext cx="903514" cy="388075"/>
          </a:xfrm>
          <a:custGeom>
            <a:avLst/>
            <a:gdLst>
              <a:gd name="connsiteX0" fmla="*/ 233720 w 1073960"/>
              <a:gd name="connsiteY0" fmla="*/ 0 h 467438"/>
              <a:gd name="connsiteX1" fmla="*/ 233973 w 1073960"/>
              <a:gd name="connsiteY1" fmla="*/ 0 h 467438"/>
              <a:gd name="connsiteX2" fmla="*/ 235750 w 1073960"/>
              <a:gd name="connsiteY2" fmla="*/ 0 h 467438"/>
              <a:gd name="connsiteX3" fmla="*/ 235759 w 1073960"/>
              <a:gd name="connsiteY3" fmla="*/ 0 h 467438"/>
              <a:gd name="connsiteX4" fmla="*/ 239757 w 1073960"/>
              <a:gd name="connsiteY4" fmla="*/ 0 h 467438"/>
              <a:gd name="connsiteX5" fmla="*/ 239767 w 1073960"/>
              <a:gd name="connsiteY5" fmla="*/ 0 h 467438"/>
              <a:gd name="connsiteX6" fmla="*/ 251036 w 1073960"/>
              <a:gd name="connsiteY6" fmla="*/ 0 h 467438"/>
              <a:gd name="connsiteX7" fmla="*/ 255044 w 1073960"/>
              <a:gd name="connsiteY7" fmla="*/ 0 h 467438"/>
              <a:gd name="connsiteX8" fmla="*/ 256820 w 1073960"/>
              <a:gd name="connsiteY8" fmla="*/ 0 h 467438"/>
              <a:gd name="connsiteX9" fmla="*/ 266930 w 1073960"/>
              <a:gd name="connsiteY9" fmla="*/ 0 h 467438"/>
              <a:gd name="connsiteX10" fmla="*/ 273280 w 1073960"/>
              <a:gd name="connsiteY10" fmla="*/ 0 h 467438"/>
              <a:gd name="connsiteX11" fmla="*/ 277287 w 1073960"/>
              <a:gd name="connsiteY11" fmla="*/ 0 h 467438"/>
              <a:gd name="connsiteX12" fmla="*/ 279327 w 1073960"/>
              <a:gd name="connsiteY12" fmla="*/ 0 h 467438"/>
              <a:gd name="connsiteX13" fmla="*/ 283334 w 1073960"/>
              <a:gd name="connsiteY13" fmla="*/ 0 h 467438"/>
              <a:gd name="connsiteX14" fmla="*/ 291309 w 1073960"/>
              <a:gd name="connsiteY14" fmla="*/ 0 h 467438"/>
              <a:gd name="connsiteX15" fmla="*/ 294350 w 1073960"/>
              <a:gd name="connsiteY15" fmla="*/ 0 h 467438"/>
              <a:gd name="connsiteX16" fmla="*/ 294604 w 1073960"/>
              <a:gd name="connsiteY16" fmla="*/ 0 h 467438"/>
              <a:gd name="connsiteX17" fmla="*/ 297356 w 1073960"/>
              <a:gd name="connsiteY17" fmla="*/ 0 h 467438"/>
              <a:gd name="connsiteX18" fmla="*/ 298611 w 1073960"/>
              <a:gd name="connsiteY18" fmla="*/ 0 h 467438"/>
              <a:gd name="connsiteX19" fmla="*/ 300388 w 1073960"/>
              <a:gd name="connsiteY19" fmla="*/ 0 h 467438"/>
              <a:gd name="connsiteX20" fmla="*/ 300397 w 1073960"/>
              <a:gd name="connsiteY20" fmla="*/ 0 h 467438"/>
              <a:gd name="connsiteX21" fmla="*/ 310497 w 1073960"/>
              <a:gd name="connsiteY21" fmla="*/ 0 h 467438"/>
              <a:gd name="connsiteX22" fmla="*/ 312633 w 1073960"/>
              <a:gd name="connsiteY22" fmla="*/ 0 h 467438"/>
              <a:gd name="connsiteX23" fmla="*/ 315674 w 1073960"/>
              <a:gd name="connsiteY23" fmla="*/ 0 h 467438"/>
              <a:gd name="connsiteX24" fmla="*/ 327561 w 1073960"/>
              <a:gd name="connsiteY24" fmla="*/ 0 h 467438"/>
              <a:gd name="connsiteX25" fmla="*/ 331568 w 1073960"/>
              <a:gd name="connsiteY25" fmla="*/ 0 h 467438"/>
              <a:gd name="connsiteX26" fmla="*/ 334876 w 1073960"/>
              <a:gd name="connsiteY26" fmla="*/ 0 h 467438"/>
              <a:gd name="connsiteX27" fmla="*/ 334886 w 1073960"/>
              <a:gd name="connsiteY27" fmla="*/ 0 h 467438"/>
              <a:gd name="connsiteX28" fmla="*/ 337918 w 1073960"/>
              <a:gd name="connsiteY28" fmla="*/ 0 h 467438"/>
              <a:gd name="connsiteX29" fmla="*/ 340923 w 1073960"/>
              <a:gd name="connsiteY29" fmla="*/ 0 h 467438"/>
              <a:gd name="connsiteX30" fmla="*/ 343965 w 1073960"/>
              <a:gd name="connsiteY30" fmla="*/ 0 h 467438"/>
              <a:gd name="connsiteX31" fmla="*/ 350163 w 1073960"/>
              <a:gd name="connsiteY31" fmla="*/ 0 h 467438"/>
              <a:gd name="connsiteX32" fmla="*/ 351939 w 1073960"/>
              <a:gd name="connsiteY32" fmla="*/ 0 h 467438"/>
              <a:gd name="connsiteX33" fmla="*/ 355947 w 1073960"/>
              <a:gd name="connsiteY33" fmla="*/ 0 h 467438"/>
              <a:gd name="connsiteX34" fmla="*/ 356200 w 1073960"/>
              <a:gd name="connsiteY34" fmla="*/ 0 h 467438"/>
              <a:gd name="connsiteX35" fmla="*/ 356210 w 1073960"/>
              <a:gd name="connsiteY35" fmla="*/ 0 h 467438"/>
              <a:gd name="connsiteX36" fmla="*/ 357987 w 1073960"/>
              <a:gd name="connsiteY36" fmla="*/ 0 h 467438"/>
              <a:gd name="connsiteX37" fmla="*/ 359242 w 1073960"/>
              <a:gd name="connsiteY37" fmla="*/ 0 h 467438"/>
              <a:gd name="connsiteX38" fmla="*/ 361994 w 1073960"/>
              <a:gd name="connsiteY38" fmla="*/ 0 h 467438"/>
              <a:gd name="connsiteX39" fmla="*/ 371129 w 1073960"/>
              <a:gd name="connsiteY39" fmla="*/ 0 h 467438"/>
              <a:gd name="connsiteX40" fmla="*/ 373263 w 1073960"/>
              <a:gd name="connsiteY40" fmla="*/ 0 h 467438"/>
              <a:gd name="connsiteX41" fmla="*/ 375135 w 1073960"/>
              <a:gd name="connsiteY41" fmla="*/ 0 h 467438"/>
              <a:gd name="connsiteX42" fmla="*/ 377271 w 1073960"/>
              <a:gd name="connsiteY42" fmla="*/ 0 h 467438"/>
              <a:gd name="connsiteX43" fmla="*/ 378453 w 1073960"/>
              <a:gd name="connsiteY43" fmla="*/ 0 h 467438"/>
              <a:gd name="connsiteX44" fmla="*/ 389158 w 1073960"/>
              <a:gd name="connsiteY44" fmla="*/ 0 h 467438"/>
              <a:gd name="connsiteX45" fmla="*/ 392199 w 1073960"/>
              <a:gd name="connsiteY45" fmla="*/ 0 h 467438"/>
              <a:gd name="connsiteX46" fmla="*/ 393730 w 1073960"/>
              <a:gd name="connsiteY46" fmla="*/ 0 h 467438"/>
              <a:gd name="connsiteX47" fmla="*/ 395507 w 1073960"/>
              <a:gd name="connsiteY47" fmla="*/ 0 h 467438"/>
              <a:gd name="connsiteX48" fmla="*/ 395516 w 1073960"/>
              <a:gd name="connsiteY48" fmla="*/ 0 h 467438"/>
              <a:gd name="connsiteX49" fmla="*/ 399514 w 1073960"/>
              <a:gd name="connsiteY49" fmla="*/ 0 h 467438"/>
              <a:gd name="connsiteX50" fmla="*/ 399524 w 1073960"/>
              <a:gd name="connsiteY50" fmla="*/ 0 h 467438"/>
              <a:gd name="connsiteX51" fmla="*/ 399777 w 1073960"/>
              <a:gd name="connsiteY51" fmla="*/ 0 h 467438"/>
              <a:gd name="connsiteX52" fmla="*/ 401555 w 1073960"/>
              <a:gd name="connsiteY52" fmla="*/ 0 h 467438"/>
              <a:gd name="connsiteX53" fmla="*/ 405561 w 1073960"/>
              <a:gd name="connsiteY53" fmla="*/ 0 h 467438"/>
              <a:gd name="connsiteX54" fmla="*/ 410793 w 1073960"/>
              <a:gd name="connsiteY54" fmla="*/ 0 h 467438"/>
              <a:gd name="connsiteX55" fmla="*/ 414801 w 1073960"/>
              <a:gd name="connsiteY55" fmla="*/ 0 h 467438"/>
              <a:gd name="connsiteX56" fmla="*/ 416577 w 1073960"/>
              <a:gd name="connsiteY56" fmla="*/ 0 h 467438"/>
              <a:gd name="connsiteX57" fmla="*/ 416831 w 1073960"/>
              <a:gd name="connsiteY57" fmla="*/ 0 h 467438"/>
              <a:gd name="connsiteX58" fmla="*/ 416840 w 1073960"/>
              <a:gd name="connsiteY58" fmla="*/ 0 h 467438"/>
              <a:gd name="connsiteX59" fmla="*/ 420838 w 1073960"/>
              <a:gd name="connsiteY59" fmla="*/ 0 h 467438"/>
              <a:gd name="connsiteX60" fmla="*/ 420848 w 1073960"/>
              <a:gd name="connsiteY60" fmla="*/ 0 h 467438"/>
              <a:gd name="connsiteX61" fmla="*/ 422625 w 1073960"/>
              <a:gd name="connsiteY61" fmla="*/ 0 h 467438"/>
              <a:gd name="connsiteX62" fmla="*/ 426687 w 1073960"/>
              <a:gd name="connsiteY62" fmla="*/ 0 h 467438"/>
              <a:gd name="connsiteX63" fmla="*/ 432725 w 1073960"/>
              <a:gd name="connsiteY63" fmla="*/ 0 h 467438"/>
              <a:gd name="connsiteX64" fmla="*/ 432735 w 1073960"/>
              <a:gd name="connsiteY64" fmla="*/ 0 h 467438"/>
              <a:gd name="connsiteX65" fmla="*/ 435767 w 1073960"/>
              <a:gd name="connsiteY65" fmla="*/ 0 h 467438"/>
              <a:gd name="connsiteX66" fmla="*/ 437901 w 1073960"/>
              <a:gd name="connsiteY66" fmla="*/ 0 h 467438"/>
              <a:gd name="connsiteX67" fmla="*/ 439084 w 1073960"/>
              <a:gd name="connsiteY67" fmla="*/ 0 h 467438"/>
              <a:gd name="connsiteX68" fmla="*/ 443091 w 1073960"/>
              <a:gd name="connsiteY68" fmla="*/ 0 h 467438"/>
              <a:gd name="connsiteX69" fmla="*/ 448011 w 1073960"/>
              <a:gd name="connsiteY69" fmla="*/ 0 h 467438"/>
              <a:gd name="connsiteX70" fmla="*/ 449788 w 1073960"/>
              <a:gd name="connsiteY70" fmla="*/ 0 h 467438"/>
              <a:gd name="connsiteX71" fmla="*/ 453796 w 1073960"/>
              <a:gd name="connsiteY71" fmla="*/ 0 h 467438"/>
              <a:gd name="connsiteX72" fmla="*/ 454361 w 1073960"/>
              <a:gd name="connsiteY72" fmla="*/ 0 h 467438"/>
              <a:gd name="connsiteX73" fmla="*/ 457113 w 1073960"/>
              <a:gd name="connsiteY73" fmla="*/ 0 h 467438"/>
              <a:gd name="connsiteX74" fmla="*/ 458368 w 1073960"/>
              <a:gd name="connsiteY74" fmla="*/ 0 h 467438"/>
              <a:gd name="connsiteX75" fmla="*/ 460145 w 1073960"/>
              <a:gd name="connsiteY75" fmla="*/ 0 h 467438"/>
              <a:gd name="connsiteX76" fmla="*/ 460154 w 1073960"/>
              <a:gd name="connsiteY76" fmla="*/ 0 h 467438"/>
              <a:gd name="connsiteX77" fmla="*/ 460408 w 1073960"/>
              <a:gd name="connsiteY77" fmla="*/ 0 h 467438"/>
              <a:gd name="connsiteX78" fmla="*/ 464415 w 1073960"/>
              <a:gd name="connsiteY78" fmla="*/ 0 h 467438"/>
              <a:gd name="connsiteX79" fmla="*/ 466193 w 1073960"/>
              <a:gd name="connsiteY79" fmla="*/ 0 h 467438"/>
              <a:gd name="connsiteX80" fmla="*/ 470254 w 1073960"/>
              <a:gd name="connsiteY80" fmla="*/ 0 h 467438"/>
              <a:gd name="connsiteX81" fmla="*/ 472390 w 1073960"/>
              <a:gd name="connsiteY81" fmla="*/ 0 h 467438"/>
              <a:gd name="connsiteX82" fmla="*/ 475431 w 1073960"/>
              <a:gd name="connsiteY82" fmla="*/ 0 h 467438"/>
              <a:gd name="connsiteX83" fmla="*/ 476302 w 1073960"/>
              <a:gd name="connsiteY83" fmla="*/ 0 h 467438"/>
              <a:gd name="connsiteX84" fmla="*/ 478437 w 1073960"/>
              <a:gd name="connsiteY84" fmla="*/ 0 h 467438"/>
              <a:gd name="connsiteX85" fmla="*/ 481469 w 1073960"/>
              <a:gd name="connsiteY85" fmla="*/ 0 h 467438"/>
              <a:gd name="connsiteX86" fmla="*/ 481478 w 1073960"/>
              <a:gd name="connsiteY86" fmla="*/ 0 h 467438"/>
              <a:gd name="connsiteX87" fmla="*/ 487318 w 1073960"/>
              <a:gd name="connsiteY87" fmla="*/ 0 h 467438"/>
              <a:gd name="connsiteX88" fmla="*/ 491325 w 1073960"/>
              <a:gd name="connsiteY88" fmla="*/ 0 h 467438"/>
              <a:gd name="connsiteX89" fmla="*/ 491579 w 1073960"/>
              <a:gd name="connsiteY89" fmla="*/ 0 h 467438"/>
              <a:gd name="connsiteX90" fmla="*/ 493356 w 1073960"/>
              <a:gd name="connsiteY90" fmla="*/ 0 h 467438"/>
              <a:gd name="connsiteX91" fmla="*/ 493365 w 1073960"/>
              <a:gd name="connsiteY91" fmla="*/ 0 h 467438"/>
              <a:gd name="connsiteX92" fmla="*/ 497363 w 1073960"/>
              <a:gd name="connsiteY92" fmla="*/ 0 h 467438"/>
              <a:gd name="connsiteX93" fmla="*/ 497373 w 1073960"/>
              <a:gd name="connsiteY93" fmla="*/ 0 h 467438"/>
              <a:gd name="connsiteX94" fmla="*/ 500680 w 1073960"/>
              <a:gd name="connsiteY94" fmla="*/ 0 h 467438"/>
              <a:gd name="connsiteX95" fmla="*/ 503722 w 1073960"/>
              <a:gd name="connsiteY95" fmla="*/ 0 h 467438"/>
              <a:gd name="connsiteX96" fmla="*/ 508642 w 1073960"/>
              <a:gd name="connsiteY96" fmla="*/ 0 h 467438"/>
              <a:gd name="connsiteX97" fmla="*/ 512649 w 1073960"/>
              <a:gd name="connsiteY97" fmla="*/ 0 h 467438"/>
              <a:gd name="connsiteX98" fmla="*/ 514426 w 1073960"/>
              <a:gd name="connsiteY98" fmla="*/ 0 h 467438"/>
              <a:gd name="connsiteX99" fmla="*/ 515957 w 1073960"/>
              <a:gd name="connsiteY99" fmla="*/ 0 h 467438"/>
              <a:gd name="connsiteX100" fmla="*/ 515967 w 1073960"/>
              <a:gd name="connsiteY100" fmla="*/ 0 h 467438"/>
              <a:gd name="connsiteX101" fmla="*/ 517744 w 1073960"/>
              <a:gd name="connsiteY101" fmla="*/ 0 h 467438"/>
              <a:gd name="connsiteX102" fmla="*/ 518999 w 1073960"/>
              <a:gd name="connsiteY102" fmla="*/ 0 h 467438"/>
              <a:gd name="connsiteX103" fmla="*/ 521751 w 1073960"/>
              <a:gd name="connsiteY103" fmla="*/ 0 h 467438"/>
              <a:gd name="connsiteX104" fmla="*/ 522004 w 1073960"/>
              <a:gd name="connsiteY104" fmla="*/ 0 h 467438"/>
              <a:gd name="connsiteX105" fmla="*/ 525046 w 1073960"/>
              <a:gd name="connsiteY105" fmla="*/ 0 h 467438"/>
              <a:gd name="connsiteX106" fmla="*/ 530886 w 1073960"/>
              <a:gd name="connsiteY106" fmla="*/ 0 h 467438"/>
              <a:gd name="connsiteX107" fmla="*/ 533020 w 1073960"/>
              <a:gd name="connsiteY107" fmla="*/ 0 h 467438"/>
              <a:gd name="connsiteX108" fmla="*/ 534892 w 1073960"/>
              <a:gd name="connsiteY108" fmla="*/ 0 h 467438"/>
              <a:gd name="connsiteX109" fmla="*/ 536933 w 1073960"/>
              <a:gd name="connsiteY109" fmla="*/ 0 h 467438"/>
              <a:gd name="connsiteX110" fmla="*/ 537028 w 1073960"/>
              <a:gd name="connsiteY110" fmla="*/ 0 h 467438"/>
              <a:gd name="connsiteX111" fmla="*/ 539068 w 1073960"/>
              <a:gd name="connsiteY111" fmla="*/ 0 h 467438"/>
              <a:gd name="connsiteX112" fmla="*/ 540940 w 1073960"/>
              <a:gd name="connsiteY112" fmla="*/ 0 h 467438"/>
              <a:gd name="connsiteX113" fmla="*/ 543075 w 1073960"/>
              <a:gd name="connsiteY113" fmla="*/ 0 h 467438"/>
              <a:gd name="connsiteX114" fmla="*/ 548915 w 1073960"/>
              <a:gd name="connsiteY114" fmla="*/ 0 h 467438"/>
              <a:gd name="connsiteX115" fmla="*/ 551956 w 1073960"/>
              <a:gd name="connsiteY115" fmla="*/ 0 h 467438"/>
              <a:gd name="connsiteX116" fmla="*/ 552210 w 1073960"/>
              <a:gd name="connsiteY116" fmla="*/ 0 h 467438"/>
              <a:gd name="connsiteX117" fmla="*/ 554962 w 1073960"/>
              <a:gd name="connsiteY117" fmla="*/ 0 h 467438"/>
              <a:gd name="connsiteX118" fmla="*/ 556217 w 1073960"/>
              <a:gd name="connsiteY118" fmla="*/ 0 h 467438"/>
              <a:gd name="connsiteX119" fmla="*/ 557994 w 1073960"/>
              <a:gd name="connsiteY119" fmla="*/ 0 h 467438"/>
              <a:gd name="connsiteX120" fmla="*/ 558003 w 1073960"/>
              <a:gd name="connsiteY120" fmla="*/ 0 h 467438"/>
              <a:gd name="connsiteX121" fmla="*/ 559534 w 1073960"/>
              <a:gd name="connsiteY121" fmla="*/ 0 h 467438"/>
              <a:gd name="connsiteX122" fmla="*/ 561312 w 1073960"/>
              <a:gd name="connsiteY122" fmla="*/ 0 h 467438"/>
              <a:gd name="connsiteX123" fmla="*/ 565318 w 1073960"/>
              <a:gd name="connsiteY123" fmla="*/ 0 h 467438"/>
              <a:gd name="connsiteX124" fmla="*/ 570239 w 1073960"/>
              <a:gd name="connsiteY124" fmla="*/ 0 h 467438"/>
              <a:gd name="connsiteX125" fmla="*/ 573280 w 1073960"/>
              <a:gd name="connsiteY125" fmla="*/ 0 h 467438"/>
              <a:gd name="connsiteX126" fmla="*/ 576588 w 1073960"/>
              <a:gd name="connsiteY126" fmla="*/ 0 h 467438"/>
              <a:gd name="connsiteX127" fmla="*/ 576597 w 1073960"/>
              <a:gd name="connsiteY127" fmla="*/ 0 h 467438"/>
              <a:gd name="connsiteX128" fmla="*/ 580595 w 1073960"/>
              <a:gd name="connsiteY128" fmla="*/ 0 h 467438"/>
              <a:gd name="connsiteX129" fmla="*/ 580605 w 1073960"/>
              <a:gd name="connsiteY129" fmla="*/ 0 h 467438"/>
              <a:gd name="connsiteX130" fmla="*/ 582382 w 1073960"/>
              <a:gd name="connsiteY130" fmla="*/ 0 h 467438"/>
              <a:gd name="connsiteX131" fmla="*/ 582636 w 1073960"/>
              <a:gd name="connsiteY131" fmla="*/ 0 h 467438"/>
              <a:gd name="connsiteX132" fmla="*/ 586642 w 1073960"/>
              <a:gd name="connsiteY132" fmla="*/ 0 h 467438"/>
              <a:gd name="connsiteX133" fmla="*/ 592482 w 1073960"/>
              <a:gd name="connsiteY133" fmla="*/ 0 h 467438"/>
              <a:gd name="connsiteX134" fmla="*/ 592492 w 1073960"/>
              <a:gd name="connsiteY134" fmla="*/ 0 h 467438"/>
              <a:gd name="connsiteX135" fmla="*/ 595524 w 1073960"/>
              <a:gd name="connsiteY135" fmla="*/ 0 h 467438"/>
              <a:gd name="connsiteX136" fmla="*/ 597658 w 1073960"/>
              <a:gd name="connsiteY136" fmla="*/ 0 h 467438"/>
              <a:gd name="connsiteX137" fmla="*/ 598529 w 1073960"/>
              <a:gd name="connsiteY137" fmla="*/ 0 h 467438"/>
              <a:gd name="connsiteX138" fmla="*/ 601571 w 1073960"/>
              <a:gd name="connsiteY138" fmla="*/ 0 h 467438"/>
              <a:gd name="connsiteX139" fmla="*/ 603706 w 1073960"/>
              <a:gd name="connsiteY139" fmla="*/ 0 h 467438"/>
              <a:gd name="connsiteX140" fmla="*/ 607768 w 1073960"/>
              <a:gd name="connsiteY140" fmla="*/ 0 h 467438"/>
              <a:gd name="connsiteX141" fmla="*/ 609545 w 1073960"/>
              <a:gd name="connsiteY141" fmla="*/ 0 h 467438"/>
              <a:gd name="connsiteX142" fmla="*/ 613553 w 1073960"/>
              <a:gd name="connsiteY142" fmla="*/ 0 h 467438"/>
              <a:gd name="connsiteX143" fmla="*/ 613806 w 1073960"/>
              <a:gd name="connsiteY143" fmla="*/ 0 h 467438"/>
              <a:gd name="connsiteX144" fmla="*/ 613816 w 1073960"/>
              <a:gd name="connsiteY144" fmla="*/ 0 h 467438"/>
              <a:gd name="connsiteX145" fmla="*/ 615592 w 1073960"/>
              <a:gd name="connsiteY145" fmla="*/ 0 h 467438"/>
              <a:gd name="connsiteX146" fmla="*/ 616848 w 1073960"/>
              <a:gd name="connsiteY146" fmla="*/ 0 h 467438"/>
              <a:gd name="connsiteX147" fmla="*/ 619600 w 1073960"/>
              <a:gd name="connsiteY147" fmla="*/ 0 h 467438"/>
              <a:gd name="connsiteX148" fmla="*/ 620165 w 1073960"/>
              <a:gd name="connsiteY148" fmla="*/ 0 h 467438"/>
              <a:gd name="connsiteX149" fmla="*/ 624172 w 1073960"/>
              <a:gd name="connsiteY149" fmla="*/ 0 h 467438"/>
              <a:gd name="connsiteX150" fmla="*/ 625950 w 1073960"/>
              <a:gd name="connsiteY150" fmla="*/ 0 h 467438"/>
              <a:gd name="connsiteX151" fmla="*/ 630869 w 1073960"/>
              <a:gd name="connsiteY151" fmla="*/ 0 h 467438"/>
              <a:gd name="connsiteX152" fmla="*/ 634877 w 1073960"/>
              <a:gd name="connsiteY152" fmla="*/ 0 h 467438"/>
              <a:gd name="connsiteX153" fmla="*/ 636059 w 1073960"/>
              <a:gd name="connsiteY153" fmla="*/ 0 h 467438"/>
              <a:gd name="connsiteX154" fmla="*/ 638194 w 1073960"/>
              <a:gd name="connsiteY154" fmla="*/ 0 h 467438"/>
              <a:gd name="connsiteX155" fmla="*/ 641226 w 1073960"/>
              <a:gd name="connsiteY155" fmla="*/ 0 h 467438"/>
              <a:gd name="connsiteX156" fmla="*/ 641235 w 1073960"/>
              <a:gd name="connsiteY156" fmla="*/ 0 h 467438"/>
              <a:gd name="connsiteX157" fmla="*/ 647274 w 1073960"/>
              <a:gd name="connsiteY157" fmla="*/ 0 h 467438"/>
              <a:gd name="connsiteX158" fmla="*/ 651336 w 1073960"/>
              <a:gd name="connsiteY158" fmla="*/ 0 h 467438"/>
              <a:gd name="connsiteX159" fmla="*/ 653113 w 1073960"/>
              <a:gd name="connsiteY159" fmla="*/ 0 h 467438"/>
              <a:gd name="connsiteX160" fmla="*/ 653122 w 1073960"/>
              <a:gd name="connsiteY160" fmla="*/ 0 h 467438"/>
              <a:gd name="connsiteX161" fmla="*/ 657120 w 1073960"/>
              <a:gd name="connsiteY161" fmla="*/ 0 h 467438"/>
              <a:gd name="connsiteX162" fmla="*/ 657130 w 1073960"/>
              <a:gd name="connsiteY162" fmla="*/ 0 h 467438"/>
              <a:gd name="connsiteX163" fmla="*/ 657383 w 1073960"/>
              <a:gd name="connsiteY163" fmla="*/ 0 h 467438"/>
              <a:gd name="connsiteX164" fmla="*/ 659160 w 1073960"/>
              <a:gd name="connsiteY164" fmla="*/ 0 h 467438"/>
              <a:gd name="connsiteX165" fmla="*/ 663167 w 1073960"/>
              <a:gd name="connsiteY165" fmla="*/ 0 h 467438"/>
              <a:gd name="connsiteX166" fmla="*/ 668399 w 1073960"/>
              <a:gd name="connsiteY166" fmla="*/ 0 h 467438"/>
              <a:gd name="connsiteX167" fmla="*/ 672406 w 1073960"/>
              <a:gd name="connsiteY167" fmla="*/ 0 h 467438"/>
              <a:gd name="connsiteX168" fmla="*/ 674183 w 1073960"/>
              <a:gd name="connsiteY168" fmla="*/ 0 h 467438"/>
              <a:gd name="connsiteX169" fmla="*/ 674437 w 1073960"/>
              <a:gd name="connsiteY169" fmla="*/ 0 h 467438"/>
              <a:gd name="connsiteX170" fmla="*/ 674446 w 1073960"/>
              <a:gd name="connsiteY170" fmla="*/ 0 h 467438"/>
              <a:gd name="connsiteX171" fmla="*/ 678444 w 1073960"/>
              <a:gd name="connsiteY171" fmla="*/ 0 h 467438"/>
              <a:gd name="connsiteX172" fmla="*/ 678454 w 1073960"/>
              <a:gd name="connsiteY172" fmla="*/ 0 h 467438"/>
              <a:gd name="connsiteX173" fmla="*/ 680230 w 1073960"/>
              <a:gd name="connsiteY173" fmla="*/ 0 h 467438"/>
              <a:gd name="connsiteX174" fmla="*/ 681761 w 1073960"/>
              <a:gd name="connsiteY174" fmla="*/ 0 h 467438"/>
              <a:gd name="connsiteX175" fmla="*/ 684803 w 1073960"/>
              <a:gd name="connsiteY175" fmla="*/ 0 h 467438"/>
              <a:gd name="connsiteX176" fmla="*/ 695507 w 1073960"/>
              <a:gd name="connsiteY176" fmla="*/ 0 h 467438"/>
              <a:gd name="connsiteX177" fmla="*/ 696690 w 1073960"/>
              <a:gd name="connsiteY177" fmla="*/ 0 h 467438"/>
              <a:gd name="connsiteX178" fmla="*/ 698825 w 1073960"/>
              <a:gd name="connsiteY178" fmla="*/ 0 h 467438"/>
              <a:gd name="connsiteX179" fmla="*/ 700697 w 1073960"/>
              <a:gd name="connsiteY179" fmla="*/ 0 h 467438"/>
              <a:gd name="connsiteX180" fmla="*/ 702832 w 1073960"/>
              <a:gd name="connsiteY180" fmla="*/ 0 h 467438"/>
              <a:gd name="connsiteX181" fmla="*/ 711967 w 1073960"/>
              <a:gd name="connsiteY181" fmla="*/ 0 h 467438"/>
              <a:gd name="connsiteX182" fmla="*/ 714719 w 1073960"/>
              <a:gd name="connsiteY182" fmla="*/ 0 h 467438"/>
              <a:gd name="connsiteX183" fmla="*/ 715974 w 1073960"/>
              <a:gd name="connsiteY183" fmla="*/ 0 h 467438"/>
              <a:gd name="connsiteX184" fmla="*/ 717751 w 1073960"/>
              <a:gd name="connsiteY184" fmla="*/ 0 h 467438"/>
              <a:gd name="connsiteX185" fmla="*/ 717760 w 1073960"/>
              <a:gd name="connsiteY185" fmla="*/ 0 h 467438"/>
              <a:gd name="connsiteX186" fmla="*/ 718014 w 1073960"/>
              <a:gd name="connsiteY186" fmla="*/ 0 h 467438"/>
              <a:gd name="connsiteX187" fmla="*/ 722021 w 1073960"/>
              <a:gd name="connsiteY187" fmla="*/ 0 h 467438"/>
              <a:gd name="connsiteX188" fmla="*/ 723798 w 1073960"/>
              <a:gd name="connsiteY188" fmla="*/ 0 h 467438"/>
              <a:gd name="connsiteX189" fmla="*/ 729996 w 1073960"/>
              <a:gd name="connsiteY189" fmla="*/ 0 h 467438"/>
              <a:gd name="connsiteX190" fmla="*/ 733037 w 1073960"/>
              <a:gd name="connsiteY190" fmla="*/ 0 h 467438"/>
              <a:gd name="connsiteX191" fmla="*/ 736043 w 1073960"/>
              <a:gd name="connsiteY191" fmla="*/ 0 h 467438"/>
              <a:gd name="connsiteX192" fmla="*/ 739075 w 1073960"/>
              <a:gd name="connsiteY192" fmla="*/ 0 h 467438"/>
              <a:gd name="connsiteX193" fmla="*/ 739084 w 1073960"/>
              <a:gd name="connsiteY193" fmla="*/ 0 h 467438"/>
              <a:gd name="connsiteX194" fmla="*/ 742393 w 1073960"/>
              <a:gd name="connsiteY194" fmla="*/ 0 h 467438"/>
              <a:gd name="connsiteX195" fmla="*/ 746399 w 1073960"/>
              <a:gd name="connsiteY195" fmla="*/ 0 h 467438"/>
              <a:gd name="connsiteX196" fmla="*/ 758286 w 1073960"/>
              <a:gd name="connsiteY196" fmla="*/ 0 h 467438"/>
              <a:gd name="connsiteX197" fmla="*/ 761328 w 1073960"/>
              <a:gd name="connsiteY197" fmla="*/ 0 h 467438"/>
              <a:gd name="connsiteX198" fmla="*/ 763463 w 1073960"/>
              <a:gd name="connsiteY198" fmla="*/ 0 h 467438"/>
              <a:gd name="connsiteX199" fmla="*/ 773563 w 1073960"/>
              <a:gd name="connsiteY199" fmla="*/ 0 h 467438"/>
              <a:gd name="connsiteX200" fmla="*/ 773573 w 1073960"/>
              <a:gd name="connsiteY200" fmla="*/ 0 h 467438"/>
              <a:gd name="connsiteX201" fmla="*/ 775349 w 1073960"/>
              <a:gd name="connsiteY201" fmla="*/ 0 h 467438"/>
              <a:gd name="connsiteX202" fmla="*/ 776605 w 1073960"/>
              <a:gd name="connsiteY202" fmla="*/ 0 h 467438"/>
              <a:gd name="connsiteX203" fmla="*/ 779357 w 1073960"/>
              <a:gd name="connsiteY203" fmla="*/ 0 h 467438"/>
              <a:gd name="connsiteX204" fmla="*/ 779610 w 1073960"/>
              <a:gd name="connsiteY204" fmla="*/ 0 h 467438"/>
              <a:gd name="connsiteX205" fmla="*/ 782652 w 1073960"/>
              <a:gd name="connsiteY205" fmla="*/ 0 h 467438"/>
              <a:gd name="connsiteX206" fmla="*/ 790626 w 1073960"/>
              <a:gd name="connsiteY206" fmla="*/ 0 h 467438"/>
              <a:gd name="connsiteX207" fmla="*/ 794634 w 1073960"/>
              <a:gd name="connsiteY207" fmla="*/ 0 h 467438"/>
              <a:gd name="connsiteX208" fmla="*/ 796673 w 1073960"/>
              <a:gd name="connsiteY208" fmla="*/ 0 h 467438"/>
              <a:gd name="connsiteX209" fmla="*/ 800681 w 1073960"/>
              <a:gd name="connsiteY209" fmla="*/ 0 h 467438"/>
              <a:gd name="connsiteX210" fmla="*/ 807031 w 1073960"/>
              <a:gd name="connsiteY210" fmla="*/ 0 h 467438"/>
              <a:gd name="connsiteX211" fmla="*/ 817140 w 1073960"/>
              <a:gd name="connsiteY211" fmla="*/ 0 h 467438"/>
              <a:gd name="connsiteX212" fmla="*/ 818917 w 1073960"/>
              <a:gd name="connsiteY212" fmla="*/ 0 h 467438"/>
              <a:gd name="connsiteX213" fmla="*/ 822924 w 1073960"/>
              <a:gd name="connsiteY213" fmla="*/ 0 h 467438"/>
              <a:gd name="connsiteX214" fmla="*/ 834194 w 1073960"/>
              <a:gd name="connsiteY214" fmla="*/ 0 h 467438"/>
              <a:gd name="connsiteX215" fmla="*/ 834203 w 1073960"/>
              <a:gd name="connsiteY215" fmla="*/ 0 h 467438"/>
              <a:gd name="connsiteX216" fmla="*/ 838201 w 1073960"/>
              <a:gd name="connsiteY216" fmla="*/ 0 h 467438"/>
              <a:gd name="connsiteX217" fmla="*/ 838211 w 1073960"/>
              <a:gd name="connsiteY217" fmla="*/ 0 h 467438"/>
              <a:gd name="connsiteX218" fmla="*/ 839987 w 1073960"/>
              <a:gd name="connsiteY218" fmla="*/ 0 h 467438"/>
              <a:gd name="connsiteX219" fmla="*/ 840241 w 1073960"/>
              <a:gd name="connsiteY219" fmla="*/ 0 h 467438"/>
              <a:gd name="connsiteX220" fmla="*/ 1073960 w 1073960"/>
              <a:gd name="connsiteY220" fmla="*/ 233720 h 467438"/>
              <a:gd name="connsiteX221" fmla="*/ 1073959 w 1073960"/>
              <a:gd name="connsiteY221" fmla="*/ 233720 h 467438"/>
              <a:gd name="connsiteX222" fmla="*/ 840241 w 1073960"/>
              <a:gd name="connsiteY222" fmla="*/ 467438 h 467438"/>
              <a:gd name="connsiteX223" fmla="*/ 838212 w 1073960"/>
              <a:gd name="connsiteY223" fmla="*/ 467438 h 467438"/>
              <a:gd name="connsiteX224" fmla="*/ 838210 w 1073960"/>
              <a:gd name="connsiteY224" fmla="*/ 467438 h 467438"/>
              <a:gd name="connsiteX225" fmla="*/ 838201 w 1073960"/>
              <a:gd name="connsiteY225" fmla="*/ 467438 h 467438"/>
              <a:gd name="connsiteX226" fmla="*/ 838200 w 1073960"/>
              <a:gd name="connsiteY226" fmla="*/ 467438 h 467438"/>
              <a:gd name="connsiteX227" fmla="*/ 834205 w 1073960"/>
              <a:gd name="connsiteY227" fmla="*/ 467438 h 467438"/>
              <a:gd name="connsiteX228" fmla="*/ 834202 w 1073960"/>
              <a:gd name="connsiteY228" fmla="*/ 467438 h 467438"/>
              <a:gd name="connsiteX229" fmla="*/ 834193 w 1073960"/>
              <a:gd name="connsiteY229" fmla="*/ 467438 h 467438"/>
              <a:gd name="connsiteX230" fmla="*/ 817140 w 1073960"/>
              <a:gd name="connsiteY230" fmla="*/ 467438 h 467438"/>
              <a:gd name="connsiteX231" fmla="*/ 817139 w 1073960"/>
              <a:gd name="connsiteY231" fmla="*/ 467438 h 467438"/>
              <a:gd name="connsiteX232" fmla="*/ 807030 w 1073960"/>
              <a:gd name="connsiteY232" fmla="*/ 467438 h 467438"/>
              <a:gd name="connsiteX233" fmla="*/ 800683 w 1073960"/>
              <a:gd name="connsiteY233" fmla="*/ 467438 h 467438"/>
              <a:gd name="connsiteX234" fmla="*/ 800680 w 1073960"/>
              <a:gd name="connsiteY234" fmla="*/ 467438 h 467438"/>
              <a:gd name="connsiteX235" fmla="*/ 796675 w 1073960"/>
              <a:gd name="connsiteY235" fmla="*/ 467438 h 467438"/>
              <a:gd name="connsiteX236" fmla="*/ 796673 w 1073960"/>
              <a:gd name="connsiteY236" fmla="*/ 467438 h 467438"/>
              <a:gd name="connsiteX237" fmla="*/ 794635 w 1073960"/>
              <a:gd name="connsiteY237" fmla="*/ 467438 h 467438"/>
              <a:gd name="connsiteX238" fmla="*/ 794633 w 1073960"/>
              <a:gd name="connsiteY238" fmla="*/ 467438 h 467438"/>
              <a:gd name="connsiteX239" fmla="*/ 790628 w 1073960"/>
              <a:gd name="connsiteY239" fmla="*/ 467438 h 467438"/>
              <a:gd name="connsiteX240" fmla="*/ 790625 w 1073960"/>
              <a:gd name="connsiteY240" fmla="*/ 467438 h 467438"/>
              <a:gd name="connsiteX241" fmla="*/ 782652 w 1073960"/>
              <a:gd name="connsiteY241" fmla="*/ 467438 h 467438"/>
              <a:gd name="connsiteX242" fmla="*/ 782651 w 1073960"/>
              <a:gd name="connsiteY242" fmla="*/ 467438 h 467438"/>
              <a:gd name="connsiteX243" fmla="*/ 779610 w 1073960"/>
              <a:gd name="connsiteY243" fmla="*/ 467438 h 467438"/>
              <a:gd name="connsiteX244" fmla="*/ 779609 w 1073960"/>
              <a:gd name="connsiteY244" fmla="*/ 467438 h 467438"/>
              <a:gd name="connsiteX245" fmla="*/ 776605 w 1073960"/>
              <a:gd name="connsiteY245" fmla="*/ 467438 h 467438"/>
              <a:gd name="connsiteX246" fmla="*/ 776604 w 1073960"/>
              <a:gd name="connsiteY246" fmla="*/ 467438 h 467438"/>
              <a:gd name="connsiteX247" fmla="*/ 773574 w 1073960"/>
              <a:gd name="connsiteY247" fmla="*/ 467438 h 467438"/>
              <a:gd name="connsiteX248" fmla="*/ 773572 w 1073960"/>
              <a:gd name="connsiteY248" fmla="*/ 467438 h 467438"/>
              <a:gd name="connsiteX249" fmla="*/ 773563 w 1073960"/>
              <a:gd name="connsiteY249" fmla="*/ 467438 h 467438"/>
              <a:gd name="connsiteX250" fmla="*/ 773562 w 1073960"/>
              <a:gd name="connsiteY250" fmla="*/ 467438 h 467438"/>
              <a:gd name="connsiteX251" fmla="*/ 763464 w 1073960"/>
              <a:gd name="connsiteY251" fmla="*/ 467438 h 467438"/>
              <a:gd name="connsiteX252" fmla="*/ 763462 w 1073960"/>
              <a:gd name="connsiteY252" fmla="*/ 467438 h 467438"/>
              <a:gd name="connsiteX253" fmla="*/ 746399 w 1073960"/>
              <a:gd name="connsiteY253" fmla="*/ 467438 h 467438"/>
              <a:gd name="connsiteX254" fmla="*/ 742392 w 1073960"/>
              <a:gd name="connsiteY254" fmla="*/ 467438 h 467438"/>
              <a:gd name="connsiteX255" fmla="*/ 739086 w 1073960"/>
              <a:gd name="connsiteY255" fmla="*/ 467438 h 467438"/>
              <a:gd name="connsiteX256" fmla="*/ 739083 w 1073960"/>
              <a:gd name="connsiteY256" fmla="*/ 467438 h 467438"/>
              <a:gd name="connsiteX257" fmla="*/ 739074 w 1073960"/>
              <a:gd name="connsiteY257" fmla="*/ 467438 h 467438"/>
              <a:gd name="connsiteX258" fmla="*/ 736045 w 1073960"/>
              <a:gd name="connsiteY258" fmla="*/ 467438 h 467438"/>
              <a:gd name="connsiteX259" fmla="*/ 736042 w 1073960"/>
              <a:gd name="connsiteY259" fmla="*/ 467438 h 467438"/>
              <a:gd name="connsiteX260" fmla="*/ 733038 w 1073960"/>
              <a:gd name="connsiteY260" fmla="*/ 467438 h 467438"/>
              <a:gd name="connsiteX261" fmla="*/ 733036 w 1073960"/>
              <a:gd name="connsiteY261" fmla="*/ 467438 h 467438"/>
              <a:gd name="connsiteX262" fmla="*/ 729997 w 1073960"/>
              <a:gd name="connsiteY262" fmla="*/ 467438 h 467438"/>
              <a:gd name="connsiteX263" fmla="*/ 729995 w 1073960"/>
              <a:gd name="connsiteY263" fmla="*/ 467438 h 467438"/>
              <a:gd name="connsiteX264" fmla="*/ 722021 w 1073960"/>
              <a:gd name="connsiteY264" fmla="*/ 467438 h 467438"/>
              <a:gd name="connsiteX265" fmla="*/ 722020 w 1073960"/>
              <a:gd name="connsiteY265" fmla="*/ 467438 h 467438"/>
              <a:gd name="connsiteX266" fmla="*/ 718014 w 1073960"/>
              <a:gd name="connsiteY266" fmla="*/ 467438 h 467438"/>
              <a:gd name="connsiteX267" fmla="*/ 718013 w 1073960"/>
              <a:gd name="connsiteY267" fmla="*/ 467438 h 467438"/>
              <a:gd name="connsiteX268" fmla="*/ 715974 w 1073960"/>
              <a:gd name="connsiteY268" fmla="*/ 467438 h 467438"/>
              <a:gd name="connsiteX269" fmla="*/ 715973 w 1073960"/>
              <a:gd name="connsiteY269" fmla="*/ 467438 h 467438"/>
              <a:gd name="connsiteX270" fmla="*/ 711967 w 1073960"/>
              <a:gd name="connsiteY270" fmla="*/ 467438 h 467438"/>
              <a:gd name="connsiteX271" fmla="*/ 711966 w 1073960"/>
              <a:gd name="connsiteY271" fmla="*/ 467438 h 467438"/>
              <a:gd name="connsiteX272" fmla="*/ 702834 w 1073960"/>
              <a:gd name="connsiteY272" fmla="*/ 467438 h 467438"/>
              <a:gd name="connsiteX273" fmla="*/ 702832 w 1073960"/>
              <a:gd name="connsiteY273" fmla="*/ 467438 h 467438"/>
              <a:gd name="connsiteX274" fmla="*/ 698826 w 1073960"/>
              <a:gd name="connsiteY274" fmla="*/ 467438 h 467438"/>
              <a:gd name="connsiteX275" fmla="*/ 698824 w 1073960"/>
              <a:gd name="connsiteY275" fmla="*/ 467438 h 467438"/>
              <a:gd name="connsiteX276" fmla="*/ 695509 w 1073960"/>
              <a:gd name="connsiteY276" fmla="*/ 467438 h 467438"/>
              <a:gd name="connsiteX277" fmla="*/ 695506 w 1073960"/>
              <a:gd name="connsiteY277" fmla="*/ 467438 h 467438"/>
              <a:gd name="connsiteX278" fmla="*/ 684803 w 1073960"/>
              <a:gd name="connsiteY278" fmla="*/ 467438 h 467438"/>
              <a:gd name="connsiteX279" fmla="*/ 681761 w 1073960"/>
              <a:gd name="connsiteY279" fmla="*/ 467438 h 467438"/>
              <a:gd name="connsiteX280" fmla="*/ 678455 w 1073960"/>
              <a:gd name="connsiteY280" fmla="*/ 467438 h 467438"/>
              <a:gd name="connsiteX281" fmla="*/ 678453 w 1073960"/>
              <a:gd name="connsiteY281" fmla="*/ 467438 h 467438"/>
              <a:gd name="connsiteX282" fmla="*/ 678444 w 1073960"/>
              <a:gd name="connsiteY282" fmla="*/ 467438 h 467438"/>
              <a:gd name="connsiteX283" fmla="*/ 678443 w 1073960"/>
              <a:gd name="connsiteY283" fmla="*/ 467438 h 467438"/>
              <a:gd name="connsiteX284" fmla="*/ 674448 w 1073960"/>
              <a:gd name="connsiteY284" fmla="*/ 467438 h 467438"/>
              <a:gd name="connsiteX285" fmla="*/ 674445 w 1073960"/>
              <a:gd name="connsiteY285" fmla="*/ 467438 h 467438"/>
              <a:gd name="connsiteX286" fmla="*/ 674436 w 1073960"/>
              <a:gd name="connsiteY286" fmla="*/ 467438 h 467438"/>
              <a:gd name="connsiteX287" fmla="*/ 672407 w 1073960"/>
              <a:gd name="connsiteY287" fmla="*/ 467438 h 467438"/>
              <a:gd name="connsiteX288" fmla="*/ 672406 w 1073960"/>
              <a:gd name="connsiteY288" fmla="*/ 467438 h 467438"/>
              <a:gd name="connsiteX289" fmla="*/ 668400 w 1073960"/>
              <a:gd name="connsiteY289" fmla="*/ 467438 h 467438"/>
              <a:gd name="connsiteX290" fmla="*/ 668398 w 1073960"/>
              <a:gd name="connsiteY290" fmla="*/ 467438 h 467438"/>
              <a:gd name="connsiteX291" fmla="*/ 657383 w 1073960"/>
              <a:gd name="connsiteY291" fmla="*/ 467438 h 467438"/>
              <a:gd name="connsiteX292" fmla="*/ 657382 w 1073960"/>
              <a:gd name="connsiteY292" fmla="*/ 467438 h 467438"/>
              <a:gd name="connsiteX293" fmla="*/ 651336 w 1073960"/>
              <a:gd name="connsiteY293" fmla="*/ 467438 h 467438"/>
              <a:gd name="connsiteX294" fmla="*/ 651335 w 1073960"/>
              <a:gd name="connsiteY294" fmla="*/ 467438 h 467438"/>
              <a:gd name="connsiteX295" fmla="*/ 647273 w 1073960"/>
              <a:gd name="connsiteY295" fmla="*/ 467438 h 467438"/>
              <a:gd name="connsiteX296" fmla="*/ 641237 w 1073960"/>
              <a:gd name="connsiteY296" fmla="*/ 467438 h 467438"/>
              <a:gd name="connsiteX297" fmla="*/ 641235 w 1073960"/>
              <a:gd name="connsiteY297" fmla="*/ 467438 h 467438"/>
              <a:gd name="connsiteX298" fmla="*/ 641225 w 1073960"/>
              <a:gd name="connsiteY298" fmla="*/ 467438 h 467438"/>
              <a:gd name="connsiteX299" fmla="*/ 638196 w 1073960"/>
              <a:gd name="connsiteY299" fmla="*/ 467438 h 467438"/>
              <a:gd name="connsiteX300" fmla="*/ 638194 w 1073960"/>
              <a:gd name="connsiteY300" fmla="*/ 467438 h 467438"/>
              <a:gd name="connsiteX301" fmla="*/ 634878 w 1073960"/>
              <a:gd name="connsiteY301" fmla="*/ 467438 h 467438"/>
              <a:gd name="connsiteX302" fmla="*/ 634876 w 1073960"/>
              <a:gd name="connsiteY302" fmla="*/ 467438 h 467438"/>
              <a:gd name="connsiteX303" fmla="*/ 630871 w 1073960"/>
              <a:gd name="connsiteY303" fmla="*/ 467438 h 467438"/>
              <a:gd name="connsiteX304" fmla="*/ 630868 w 1073960"/>
              <a:gd name="connsiteY304" fmla="*/ 467438 h 467438"/>
              <a:gd name="connsiteX305" fmla="*/ 624172 w 1073960"/>
              <a:gd name="connsiteY305" fmla="*/ 467438 h 467438"/>
              <a:gd name="connsiteX306" fmla="*/ 624171 w 1073960"/>
              <a:gd name="connsiteY306" fmla="*/ 467438 h 467438"/>
              <a:gd name="connsiteX307" fmla="*/ 620165 w 1073960"/>
              <a:gd name="connsiteY307" fmla="*/ 467438 h 467438"/>
              <a:gd name="connsiteX308" fmla="*/ 616848 w 1073960"/>
              <a:gd name="connsiteY308" fmla="*/ 467438 h 467438"/>
              <a:gd name="connsiteX309" fmla="*/ 616847 w 1073960"/>
              <a:gd name="connsiteY309" fmla="*/ 467438 h 467438"/>
              <a:gd name="connsiteX310" fmla="*/ 613817 w 1073960"/>
              <a:gd name="connsiteY310" fmla="*/ 467438 h 467438"/>
              <a:gd name="connsiteX311" fmla="*/ 613815 w 1073960"/>
              <a:gd name="connsiteY311" fmla="*/ 467438 h 467438"/>
              <a:gd name="connsiteX312" fmla="*/ 613806 w 1073960"/>
              <a:gd name="connsiteY312" fmla="*/ 467438 h 467438"/>
              <a:gd name="connsiteX313" fmla="*/ 613805 w 1073960"/>
              <a:gd name="connsiteY313" fmla="*/ 467438 h 467438"/>
              <a:gd name="connsiteX314" fmla="*/ 607769 w 1073960"/>
              <a:gd name="connsiteY314" fmla="*/ 467438 h 467438"/>
              <a:gd name="connsiteX315" fmla="*/ 607768 w 1073960"/>
              <a:gd name="connsiteY315" fmla="*/ 467438 h 467438"/>
              <a:gd name="connsiteX316" fmla="*/ 603707 w 1073960"/>
              <a:gd name="connsiteY316" fmla="*/ 467438 h 467438"/>
              <a:gd name="connsiteX317" fmla="*/ 603705 w 1073960"/>
              <a:gd name="connsiteY317" fmla="*/ 467438 h 467438"/>
              <a:gd name="connsiteX318" fmla="*/ 597660 w 1073960"/>
              <a:gd name="connsiteY318" fmla="*/ 467438 h 467438"/>
              <a:gd name="connsiteX319" fmla="*/ 597657 w 1073960"/>
              <a:gd name="connsiteY319" fmla="*/ 467438 h 467438"/>
              <a:gd name="connsiteX320" fmla="*/ 586642 w 1073960"/>
              <a:gd name="connsiteY320" fmla="*/ 467438 h 467438"/>
              <a:gd name="connsiteX321" fmla="*/ 582635 w 1073960"/>
              <a:gd name="connsiteY321" fmla="*/ 467438 h 467438"/>
              <a:gd name="connsiteX322" fmla="*/ 580606 w 1073960"/>
              <a:gd name="connsiteY322" fmla="*/ 467438 h 467438"/>
              <a:gd name="connsiteX323" fmla="*/ 580604 w 1073960"/>
              <a:gd name="connsiteY323" fmla="*/ 467438 h 467438"/>
              <a:gd name="connsiteX324" fmla="*/ 580595 w 1073960"/>
              <a:gd name="connsiteY324" fmla="*/ 467438 h 467438"/>
              <a:gd name="connsiteX325" fmla="*/ 580594 w 1073960"/>
              <a:gd name="connsiteY325" fmla="*/ 467438 h 467438"/>
              <a:gd name="connsiteX326" fmla="*/ 576599 w 1073960"/>
              <a:gd name="connsiteY326" fmla="*/ 467438 h 467438"/>
              <a:gd name="connsiteX327" fmla="*/ 576597 w 1073960"/>
              <a:gd name="connsiteY327" fmla="*/ 467438 h 467438"/>
              <a:gd name="connsiteX328" fmla="*/ 576587 w 1073960"/>
              <a:gd name="connsiteY328" fmla="*/ 467438 h 467438"/>
              <a:gd name="connsiteX329" fmla="*/ 573281 w 1073960"/>
              <a:gd name="connsiteY329" fmla="*/ 467438 h 467438"/>
              <a:gd name="connsiteX330" fmla="*/ 573279 w 1073960"/>
              <a:gd name="connsiteY330" fmla="*/ 467438 h 467438"/>
              <a:gd name="connsiteX331" fmla="*/ 570240 w 1073960"/>
              <a:gd name="connsiteY331" fmla="*/ 467438 h 467438"/>
              <a:gd name="connsiteX332" fmla="*/ 570238 w 1073960"/>
              <a:gd name="connsiteY332" fmla="*/ 467438 h 467438"/>
              <a:gd name="connsiteX333" fmla="*/ 559534 w 1073960"/>
              <a:gd name="connsiteY333" fmla="*/ 467438 h 467438"/>
              <a:gd name="connsiteX334" fmla="*/ 559533 w 1073960"/>
              <a:gd name="connsiteY334" fmla="*/ 467438 h 467438"/>
              <a:gd name="connsiteX335" fmla="*/ 556217 w 1073960"/>
              <a:gd name="connsiteY335" fmla="*/ 467438 h 467438"/>
              <a:gd name="connsiteX336" fmla="*/ 556216 w 1073960"/>
              <a:gd name="connsiteY336" fmla="*/ 467438 h 467438"/>
              <a:gd name="connsiteX337" fmla="*/ 552210 w 1073960"/>
              <a:gd name="connsiteY337" fmla="*/ 467438 h 467438"/>
              <a:gd name="connsiteX338" fmla="*/ 552209 w 1073960"/>
              <a:gd name="connsiteY338" fmla="*/ 467438 h 467438"/>
              <a:gd name="connsiteX339" fmla="*/ 543077 w 1073960"/>
              <a:gd name="connsiteY339" fmla="*/ 467438 h 467438"/>
              <a:gd name="connsiteX340" fmla="*/ 543075 w 1073960"/>
              <a:gd name="connsiteY340" fmla="*/ 467438 h 467438"/>
              <a:gd name="connsiteX341" fmla="*/ 539069 w 1073960"/>
              <a:gd name="connsiteY341" fmla="*/ 467438 h 467438"/>
              <a:gd name="connsiteX342" fmla="*/ 539067 w 1073960"/>
              <a:gd name="connsiteY342" fmla="*/ 467438 h 467438"/>
              <a:gd name="connsiteX343" fmla="*/ 537030 w 1073960"/>
              <a:gd name="connsiteY343" fmla="*/ 467438 h 467438"/>
              <a:gd name="connsiteX344" fmla="*/ 537027 w 1073960"/>
              <a:gd name="connsiteY344" fmla="*/ 467438 h 467438"/>
              <a:gd name="connsiteX345" fmla="*/ 533022 w 1073960"/>
              <a:gd name="connsiteY345" fmla="*/ 467438 h 467438"/>
              <a:gd name="connsiteX346" fmla="*/ 533019 w 1073960"/>
              <a:gd name="connsiteY346" fmla="*/ 467438 h 467438"/>
              <a:gd name="connsiteX347" fmla="*/ 525046 w 1073960"/>
              <a:gd name="connsiteY347" fmla="*/ 467438 h 467438"/>
              <a:gd name="connsiteX348" fmla="*/ 522004 w 1073960"/>
              <a:gd name="connsiteY348" fmla="*/ 467438 h 467438"/>
              <a:gd name="connsiteX349" fmla="*/ 518999 w 1073960"/>
              <a:gd name="connsiteY349" fmla="*/ 467438 h 467438"/>
              <a:gd name="connsiteX350" fmla="*/ 518998 w 1073960"/>
              <a:gd name="connsiteY350" fmla="*/ 467438 h 467438"/>
              <a:gd name="connsiteX351" fmla="*/ 515968 w 1073960"/>
              <a:gd name="connsiteY351" fmla="*/ 467438 h 467438"/>
              <a:gd name="connsiteX352" fmla="*/ 515966 w 1073960"/>
              <a:gd name="connsiteY352" fmla="*/ 467438 h 467438"/>
              <a:gd name="connsiteX353" fmla="*/ 515957 w 1073960"/>
              <a:gd name="connsiteY353" fmla="*/ 467438 h 467438"/>
              <a:gd name="connsiteX354" fmla="*/ 515956 w 1073960"/>
              <a:gd name="connsiteY354" fmla="*/ 467438 h 467438"/>
              <a:gd name="connsiteX355" fmla="*/ 512650 w 1073960"/>
              <a:gd name="connsiteY355" fmla="*/ 467438 h 467438"/>
              <a:gd name="connsiteX356" fmla="*/ 512649 w 1073960"/>
              <a:gd name="connsiteY356" fmla="*/ 467438 h 467438"/>
              <a:gd name="connsiteX357" fmla="*/ 508643 w 1073960"/>
              <a:gd name="connsiteY357" fmla="*/ 467438 h 467438"/>
              <a:gd name="connsiteX358" fmla="*/ 508641 w 1073960"/>
              <a:gd name="connsiteY358" fmla="*/ 467438 h 467438"/>
              <a:gd name="connsiteX359" fmla="*/ 491579 w 1073960"/>
              <a:gd name="connsiteY359" fmla="*/ 467438 h 467438"/>
              <a:gd name="connsiteX360" fmla="*/ 491578 w 1073960"/>
              <a:gd name="connsiteY360" fmla="*/ 467438 h 467438"/>
              <a:gd name="connsiteX361" fmla="*/ 481480 w 1073960"/>
              <a:gd name="connsiteY361" fmla="*/ 467438 h 467438"/>
              <a:gd name="connsiteX362" fmla="*/ 481478 w 1073960"/>
              <a:gd name="connsiteY362" fmla="*/ 467438 h 467438"/>
              <a:gd name="connsiteX363" fmla="*/ 481468 w 1073960"/>
              <a:gd name="connsiteY363" fmla="*/ 467438 h 467438"/>
              <a:gd name="connsiteX364" fmla="*/ 478439 w 1073960"/>
              <a:gd name="connsiteY364" fmla="*/ 467438 h 467438"/>
              <a:gd name="connsiteX365" fmla="*/ 478437 w 1073960"/>
              <a:gd name="connsiteY365" fmla="*/ 467438 h 467438"/>
              <a:gd name="connsiteX366" fmla="*/ 475433 w 1073960"/>
              <a:gd name="connsiteY366" fmla="*/ 467438 h 467438"/>
              <a:gd name="connsiteX367" fmla="*/ 475430 w 1073960"/>
              <a:gd name="connsiteY367" fmla="*/ 467438 h 467438"/>
              <a:gd name="connsiteX368" fmla="*/ 472392 w 1073960"/>
              <a:gd name="connsiteY368" fmla="*/ 467438 h 467438"/>
              <a:gd name="connsiteX369" fmla="*/ 472389 w 1073960"/>
              <a:gd name="connsiteY369" fmla="*/ 467438 h 467438"/>
              <a:gd name="connsiteX370" fmla="*/ 464415 w 1073960"/>
              <a:gd name="connsiteY370" fmla="*/ 467438 h 467438"/>
              <a:gd name="connsiteX371" fmla="*/ 464414 w 1073960"/>
              <a:gd name="connsiteY371" fmla="*/ 467438 h 467438"/>
              <a:gd name="connsiteX372" fmla="*/ 460408 w 1073960"/>
              <a:gd name="connsiteY372" fmla="*/ 467438 h 467438"/>
              <a:gd name="connsiteX373" fmla="*/ 458368 w 1073960"/>
              <a:gd name="connsiteY373" fmla="*/ 467438 h 467438"/>
              <a:gd name="connsiteX374" fmla="*/ 458367 w 1073960"/>
              <a:gd name="connsiteY374" fmla="*/ 467438 h 467438"/>
              <a:gd name="connsiteX375" fmla="*/ 454361 w 1073960"/>
              <a:gd name="connsiteY375" fmla="*/ 467438 h 467438"/>
              <a:gd name="connsiteX376" fmla="*/ 454360 w 1073960"/>
              <a:gd name="connsiteY376" fmla="*/ 467438 h 467438"/>
              <a:gd name="connsiteX377" fmla="*/ 448012 w 1073960"/>
              <a:gd name="connsiteY377" fmla="*/ 467438 h 467438"/>
              <a:gd name="connsiteX378" fmla="*/ 448011 w 1073960"/>
              <a:gd name="connsiteY378" fmla="*/ 467438 h 467438"/>
              <a:gd name="connsiteX379" fmla="*/ 437903 w 1073960"/>
              <a:gd name="connsiteY379" fmla="*/ 467438 h 467438"/>
              <a:gd name="connsiteX380" fmla="*/ 437900 w 1073960"/>
              <a:gd name="connsiteY380" fmla="*/ 467438 h 467438"/>
              <a:gd name="connsiteX381" fmla="*/ 420849 w 1073960"/>
              <a:gd name="connsiteY381" fmla="*/ 467438 h 467438"/>
              <a:gd name="connsiteX382" fmla="*/ 420847 w 1073960"/>
              <a:gd name="connsiteY382" fmla="*/ 467438 h 467438"/>
              <a:gd name="connsiteX383" fmla="*/ 420838 w 1073960"/>
              <a:gd name="connsiteY383" fmla="*/ 467438 h 467438"/>
              <a:gd name="connsiteX384" fmla="*/ 420837 w 1073960"/>
              <a:gd name="connsiteY384" fmla="*/ 467438 h 467438"/>
              <a:gd name="connsiteX385" fmla="*/ 416842 w 1073960"/>
              <a:gd name="connsiteY385" fmla="*/ 467438 h 467438"/>
              <a:gd name="connsiteX386" fmla="*/ 416840 w 1073960"/>
              <a:gd name="connsiteY386" fmla="*/ 467438 h 467438"/>
              <a:gd name="connsiteX387" fmla="*/ 416830 w 1073960"/>
              <a:gd name="connsiteY387" fmla="*/ 467438 h 467438"/>
              <a:gd name="connsiteX388" fmla="*/ 414802 w 1073960"/>
              <a:gd name="connsiteY388" fmla="*/ 467438 h 467438"/>
              <a:gd name="connsiteX389" fmla="*/ 414800 w 1073960"/>
              <a:gd name="connsiteY389" fmla="*/ 467438 h 467438"/>
              <a:gd name="connsiteX390" fmla="*/ 233720 w 1073960"/>
              <a:gd name="connsiteY390" fmla="*/ 467437 h 467438"/>
              <a:gd name="connsiteX391" fmla="*/ 4748 w 1073960"/>
              <a:gd name="connsiteY391" fmla="*/ 280821 h 467438"/>
              <a:gd name="connsiteX392" fmla="*/ 0 w 1073960"/>
              <a:gd name="connsiteY392" fmla="*/ 233720 h 467438"/>
              <a:gd name="connsiteX393" fmla="*/ 4748 w 1073960"/>
              <a:gd name="connsiteY393" fmla="*/ 186617 h 467438"/>
              <a:gd name="connsiteX394" fmla="*/ 233720 w 1073960"/>
              <a:gd name="connsiteY394" fmla="*/ 0 h 4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</a:cxnLst>
            <a:rect l="l" t="t" r="r" b="b"/>
            <a:pathLst>
              <a:path w="1073960" h="467438">
                <a:moveTo>
                  <a:pt x="233720" y="0"/>
                </a:moveTo>
                <a:lnTo>
                  <a:pt x="233973" y="0"/>
                </a:lnTo>
                <a:lnTo>
                  <a:pt x="235750" y="0"/>
                </a:lnTo>
                <a:lnTo>
                  <a:pt x="235759" y="0"/>
                </a:lnTo>
                <a:lnTo>
                  <a:pt x="239757" y="0"/>
                </a:lnTo>
                <a:lnTo>
                  <a:pt x="239767" y="0"/>
                </a:lnTo>
                <a:lnTo>
                  <a:pt x="251036" y="0"/>
                </a:lnTo>
                <a:lnTo>
                  <a:pt x="255044" y="0"/>
                </a:lnTo>
                <a:lnTo>
                  <a:pt x="256820" y="0"/>
                </a:lnTo>
                <a:lnTo>
                  <a:pt x="266930" y="0"/>
                </a:lnTo>
                <a:lnTo>
                  <a:pt x="273280" y="0"/>
                </a:lnTo>
                <a:lnTo>
                  <a:pt x="277287" y="0"/>
                </a:lnTo>
                <a:lnTo>
                  <a:pt x="279327" y="0"/>
                </a:lnTo>
                <a:lnTo>
                  <a:pt x="283334" y="0"/>
                </a:lnTo>
                <a:lnTo>
                  <a:pt x="291309" y="0"/>
                </a:lnTo>
                <a:lnTo>
                  <a:pt x="294350" y="0"/>
                </a:lnTo>
                <a:lnTo>
                  <a:pt x="294604" y="0"/>
                </a:lnTo>
                <a:lnTo>
                  <a:pt x="297356" y="0"/>
                </a:lnTo>
                <a:lnTo>
                  <a:pt x="298611" y="0"/>
                </a:lnTo>
                <a:lnTo>
                  <a:pt x="300388" y="0"/>
                </a:lnTo>
                <a:lnTo>
                  <a:pt x="300397" y="0"/>
                </a:lnTo>
                <a:lnTo>
                  <a:pt x="310497" y="0"/>
                </a:lnTo>
                <a:lnTo>
                  <a:pt x="312633" y="0"/>
                </a:lnTo>
                <a:lnTo>
                  <a:pt x="315674" y="0"/>
                </a:lnTo>
                <a:lnTo>
                  <a:pt x="327561" y="0"/>
                </a:lnTo>
                <a:lnTo>
                  <a:pt x="331568" y="0"/>
                </a:lnTo>
                <a:lnTo>
                  <a:pt x="334876" y="0"/>
                </a:lnTo>
                <a:lnTo>
                  <a:pt x="334886" y="0"/>
                </a:lnTo>
                <a:lnTo>
                  <a:pt x="337918" y="0"/>
                </a:lnTo>
                <a:lnTo>
                  <a:pt x="340923" y="0"/>
                </a:lnTo>
                <a:lnTo>
                  <a:pt x="343965" y="0"/>
                </a:lnTo>
                <a:lnTo>
                  <a:pt x="350163" y="0"/>
                </a:lnTo>
                <a:lnTo>
                  <a:pt x="351939" y="0"/>
                </a:lnTo>
                <a:lnTo>
                  <a:pt x="355947" y="0"/>
                </a:lnTo>
                <a:lnTo>
                  <a:pt x="356200" y="0"/>
                </a:lnTo>
                <a:lnTo>
                  <a:pt x="356210" y="0"/>
                </a:lnTo>
                <a:lnTo>
                  <a:pt x="357987" y="0"/>
                </a:lnTo>
                <a:lnTo>
                  <a:pt x="359242" y="0"/>
                </a:lnTo>
                <a:lnTo>
                  <a:pt x="361994" y="0"/>
                </a:lnTo>
                <a:lnTo>
                  <a:pt x="371129" y="0"/>
                </a:lnTo>
                <a:lnTo>
                  <a:pt x="373263" y="0"/>
                </a:lnTo>
                <a:lnTo>
                  <a:pt x="375135" y="0"/>
                </a:lnTo>
                <a:lnTo>
                  <a:pt x="377271" y="0"/>
                </a:lnTo>
                <a:lnTo>
                  <a:pt x="378453" y="0"/>
                </a:lnTo>
                <a:lnTo>
                  <a:pt x="389158" y="0"/>
                </a:lnTo>
                <a:lnTo>
                  <a:pt x="392199" y="0"/>
                </a:lnTo>
                <a:lnTo>
                  <a:pt x="393730" y="0"/>
                </a:lnTo>
                <a:lnTo>
                  <a:pt x="395507" y="0"/>
                </a:lnTo>
                <a:lnTo>
                  <a:pt x="395516" y="0"/>
                </a:lnTo>
                <a:lnTo>
                  <a:pt x="399514" y="0"/>
                </a:lnTo>
                <a:lnTo>
                  <a:pt x="399524" y="0"/>
                </a:lnTo>
                <a:lnTo>
                  <a:pt x="399777" y="0"/>
                </a:lnTo>
                <a:lnTo>
                  <a:pt x="401555" y="0"/>
                </a:lnTo>
                <a:lnTo>
                  <a:pt x="405561" y="0"/>
                </a:lnTo>
                <a:lnTo>
                  <a:pt x="410793" y="0"/>
                </a:lnTo>
                <a:lnTo>
                  <a:pt x="414801" y="0"/>
                </a:lnTo>
                <a:lnTo>
                  <a:pt x="416577" y="0"/>
                </a:lnTo>
                <a:lnTo>
                  <a:pt x="416831" y="0"/>
                </a:lnTo>
                <a:lnTo>
                  <a:pt x="416840" y="0"/>
                </a:lnTo>
                <a:lnTo>
                  <a:pt x="420838" y="0"/>
                </a:lnTo>
                <a:lnTo>
                  <a:pt x="420848" y="0"/>
                </a:lnTo>
                <a:lnTo>
                  <a:pt x="422625" y="0"/>
                </a:lnTo>
                <a:lnTo>
                  <a:pt x="426687" y="0"/>
                </a:lnTo>
                <a:lnTo>
                  <a:pt x="432725" y="0"/>
                </a:lnTo>
                <a:lnTo>
                  <a:pt x="432735" y="0"/>
                </a:lnTo>
                <a:lnTo>
                  <a:pt x="435767" y="0"/>
                </a:lnTo>
                <a:lnTo>
                  <a:pt x="437901" y="0"/>
                </a:lnTo>
                <a:lnTo>
                  <a:pt x="439084" y="0"/>
                </a:lnTo>
                <a:lnTo>
                  <a:pt x="443091" y="0"/>
                </a:lnTo>
                <a:lnTo>
                  <a:pt x="448011" y="0"/>
                </a:lnTo>
                <a:lnTo>
                  <a:pt x="449788" y="0"/>
                </a:lnTo>
                <a:lnTo>
                  <a:pt x="453796" y="0"/>
                </a:lnTo>
                <a:lnTo>
                  <a:pt x="454361" y="0"/>
                </a:lnTo>
                <a:lnTo>
                  <a:pt x="457113" y="0"/>
                </a:lnTo>
                <a:lnTo>
                  <a:pt x="458368" y="0"/>
                </a:lnTo>
                <a:lnTo>
                  <a:pt x="460145" y="0"/>
                </a:lnTo>
                <a:lnTo>
                  <a:pt x="460154" y="0"/>
                </a:lnTo>
                <a:lnTo>
                  <a:pt x="460408" y="0"/>
                </a:lnTo>
                <a:lnTo>
                  <a:pt x="464415" y="0"/>
                </a:lnTo>
                <a:lnTo>
                  <a:pt x="466193" y="0"/>
                </a:lnTo>
                <a:lnTo>
                  <a:pt x="470254" y="0"/>
                </a:lnTo>
                <a:lnTo>
                  <a:pt x="472390" y="0"/>
                </a:lnTo>
                <a:lnTo>
                  <a:pt x="475431" y="0"/>
                </a:lnTo>
                <a:lnTo>
                  <a:pt x="476302" y="0"/>
                </a:lnTo>
                <a:lnTo>
                  <a:pt x="478437" y="0"/>
                </a:lnTo>
                <a:lnTo>
                  <a:pt x="481469" y="0"/>
                </a:lnTo>
                <a:lnTo>
                  <a:pt x="481478" y="0"/>
                </a:lnTo>
                <a:lnTo>
                  <a:pt x="487318" y="0"/>
                </a:lnTo>
                <a:lnTo>
                  <a:pt x="491325" y="0"/>
                </a:lnTo>
                <a:lnTo>
                  <a:pt x="491579" y="0"/>
                </a:lnTo>
                <a:lnTo>
                  <a:pt x="493356" y="0"/>
                </a:lnTo>
                <a:lnTo>
                  <a:pt x="493365" y="0"/>
                </a:lnTo>
                <a:lnTo>
                  <a:pt x="497363" y="0"/>
                </a:lnTo>
                <a:lnTo>
                  <a:pt x="497373" y="0"/>
                </a:lnTo>
                <a:lnTo>
                  <a:pt x="500680" y="0"/>
                </a:lnTo>
                <a:lnTo>
                  <a:pt x="503722" y="0"/>
                </a:lnTo>
                <a:lnTo>
                  <a:pt x="508642" y="0"/>
                </a:lnTo>
                <a:lnTo>
                  <a:pt x="512649" y="0"/>
                </a:lnTo>
                <a:lnTo>
                  <a:pt x="514426" y="0"/>
                </a:lnTo>
                <a:lnTo>
                  <a:pt x="515957" y="0"/>
                </a:lnTo>
                <a:lnTo>
                  <a:pt x="515967" y="0"/>
                </a:lnTo>
                <a:lnTo>
                  <a:pt x="517744" y="0"/>
                </a:lnTo>
                <a:lnTo>
                  <a:pt x="518999" y="0"/>
                </a:lnTo>
                <a:lnTo>
                  <a:pt x="521751" y="0"/>
                </a:lnTo>
                <a:lnTo>
                  <a:pt x="522004" y="0"/>
                </a:lnTo>
                <a:lnTo>
                  <a:pt x="525046" y="0"/>
                </a:lnTo>
                <a:lnTo>
                  <a:pt x="530886" y="0"/>
                </a:lnTo>
                <a:lnTo>
                  <a:pt x="533020" y="0"/>
                </a:lnTo>
                <a:lnTo>
                  <a:pt x="534892" y="0"/>
                </a:lnTo>
                <a:lnTo>
                  <a:pt x="536933" y="0"/>
                </a:lnTo>
                <a:lnTo>
                  <a:pt x="537028" y="0"/>
                </a:lnTo>
                <a:lnTo>
                  <a:pt x="539068" y="0"/>
                </a:lnTo>
                <a:lnTo>
                  <a:pt x="540940" y="0"/>
                </a:lnTo>
                <a:lnTo>
                  <a:pt x="543075" y="0"/>
                </a:lnTo>
                <a:lnTo>
                  <a:pt x="548915" y="0"/>
                </a:lnTo>
                <a:lnTo>
                  <a:pt x="551956" y="0"/>
                </a:lnTo>
                <a:lnTo>
                  <a:pt x="552210" y="0"/>
                </a:lnTo>
                <a:lnTo>
                  <a:pt x="554962" y="0"/>
                </a:lnTo>
                <a:lnTo>
                  <a:pt x="556217" y="0"/>
                </a:lnTo>
                <a:lnTo>
                  <a:pt x="557994" y="0"/>
                </a:lnTo>
                <a:lnTo>
                  <a:pt x="558003" y="0"/>
                </a:lnTo>
                <a:lnTo>
                  <a:pt x="559534" y="0"/>
                </a:lnTo>
                <a:lnTo>
                  <a:pt x="561312" y="0"/>
                </a:lnTo>
                <a:lnTo>
                  <a:pt x="565318" y="0"/>
                </a:lnTo>
                <a:lnTo>
                  <a:pt x="570239" y="0"/>
                </a:lnTo>
                <a:lnTo>
                  <a:pt x="573280" y="0"/>
                </a:lnTo>
                <a:lnTo>
                  <a:pt x="576588" y="0"/>
                </a:lnTo>
                <a:lnTo>
                  <a:pt x="576597" y="0"/>
                </a:lnTo>
                <a:lnTo>
                  <a:pt x="580595" y="0"/>
                </a:lnTo>
                <a:lnTo>
                  <a:pt x="580605" y="0"/>
                </a:lnTo>
                <a:lnTo>
                  <a:pt x="582382" y="0"/>
                </a:lnTo>
                <a:lnTo>
                  <a:pt x="582636" y="0"/>
                </a:lnTo>
                <a:lnTo>
                  <a:pt x="586642" y="0"/>
                </a:lnTo>
                <a:lnTo>
                  <a:pt x="592482" y="0"/>
                </a:lnTo>
                <a:lnTo>
                  <a:pt x="592492" y="0"/>
                </a:lnTo>
                <a:lnTo>
                  <a:pt x="595524" y="0"/>
                </a:lnTo>
                <a:lnTo>
                  <a:pt x="597658" y="0"/>
                </a:lnTo>
                <a:lnTo>
                  <a:pt x="598529" y="0"/>
                </a:lnTo>
                <a:lnTo>
                  <a:pt x="601571" y="0"/>
                </a:lnTo>
                <a:lnTo>
                  <a:pt x="603706" y="0"/>
                </a:lnTo>
                <a:lnTo>
                  <a:pt x="607768" y="0"/>
                </a:lnTo>
                <a:lnTo>
                  <a:pt x="609545" y="0"/>
                </a:lnTo>
                <a:lnTo>
                  <a:pt x="613553" y="0"/>
                </a:lnTo>
                <a:lnTo>
                  <a:pt x="613806" y="0"/>
                </a:lnTo>
                <a:lnTo>
                  <a:pt x="613816" y="0"/>
                </a:lnTo>
                <a:lnTo>
                  <a:pt x="615592" y="0"/>
                </a:lnTo>
                <a:lnTo>
                  <a:pt x="616848" y="0"/>
                </a:lnTo>
                <a:lnTo>
                  <a:pt x="619600" y="0"/>
                </a:lnTo>
                <a:lnTo>
                  <a:pt x="620165" y="0"/>
                </a:lnTo>
                <a:lnTo>
                  <a:pt x="624172" y="0"/>
                </a:lnTo>
                <a:lnTo>
                  <a:pt x="625950" y="0"/>
                </a:lnTo>
                <a:lnTo>
                  <a:pt x="630869" y="0"/>
                </a:lnTo>
                <a:lnTo>
                  <a:pt x="634877" y="0"/>
                </a:lnTo>
                <a:lnTo>
                  <a:pt x="636059" y="0"/>
                </a:lnTo>
                <a:lnTo>
                  <a:pt x="638194" y="0"/>
                </a:lnTo>
                <a:lnTo>
                  <a:pt x="641226" y="0"/>
                </a:lnTo>
                <a:lnTo>
                  <a:pt x="641235" y="0"/>
                </a:lnTo>
                <a:lnTo>
                  <a:pt x="647274" y="0"/>
                </a:lnTo>
                <a:lnTo>
                  <a:pt x="651336" y="0"/>
                </a:lnTo>
                <a:lnTo>
                  <a:pt x="653113" y="0"/>
                </a:lnTo>
                <a:lnTo>
                  <a:pt x="653122" y="0"/>
                </a:lnTo>
                <a:lnTo>
                  <a:pt x="657120" y="0"/>
                </a:lnTo>
                <a:lnTo>
                  <a:pt x="657130" y="0"/>
                </a:lnTo>
                <a:lnTo>
                  <a:pt x="657383" y="0"/>
                </a:lnTo>
                <a:lnTo>
                  <a:pt x="659160" y="0"/>
                </a:lnTo>
                <a:lnTo>
                  <a:pt x="663167" y="0"/>
                </a:lnTo>
                <a:lnTo>
                  <a:pt x="668399" y="0"/>
                </a:lnTo>
                <a:lnTo>
                  <a:pt x="672406" y="0"/>
                </a:lnTo>
                <a:lnTo>
                  <a:pt x="674183" y="0"/>
                </a:lnTo>
                <a:lnTo>
                  <a:pt x="674437" y="0"/>
                </a:lnTo>
                <a:lnTo>
                  <a:pt x="674446" y="0"/>
                </a:lnTo>
                <a:lnTo>
                  <a:pt x="678444" y="0"/>
                </a:lnTo>
                <a:lnTo>
                  <a:pt x="678454" y="0"/>
                </a:lnTo>
                <a:lnTo>
                  <a:pt x="680230" y="0"/>
                </a:lnTo>
                <a:lnTo>
                  <a:pt x="681761" y="0"/>
                </a:lnTo>
                <a:lnTo>
                  <a:pt x="684803" y="0"/>
                </a:lnTo>
                <a:lnTo>
                  <a:pt x="695507" y="0"/>
                </a:lnTo>
                <a:lnTo>
                  <a:pt x="696690" y="0"/>
                </a:lnTo>
                <a:lnTo>
                  <a:pt x="698825" y="0"/>
                </a:lnTo>
                <a:lnTo>
                  <a:pt x="700697" y="0"/>
                </a:lnTo>
                <a:lnTo>
                  <a:pt x="702832" y="0"/>
                </a:lnTo>
                <a:lnTo>
                  <a:pt x="711967" y="0"/>
                </a:lnTo>
                <a:lnTo>
                  <a:pt x="714719" y="0"/>
                </a:lnTo>
                <a:lnTo>
                  <a:pt x="715974" y="0"/>
                </a:lnTo>
                <a:lnTo>
                  <a:pt x="717751" y="0"/>
                </a:lnTo>
                <a:lnTo>
                  <a:pt x="717760" y="0"/>
                </a:lnTo>
                <a:lnTo>
                  <a:pt x="718014" y="0"/>
                </a:lnTo>
                <a:lnTo>
                  <a:pt x="722021" y="0"/>
                </a:lnTo>
                <a:lnTo>
                  <a:pt x="723798" y="0"/>
                </a:lnTo>
                <a:lnTo>
                  <a:pt x="729996" y="0"/>
                </a:lnTo>
                <a:lnTo>
                  <a:pt x="733037" y="0"/>
                </a:lnTo>
                <a:lnTo>
                  <a:pt x="736043" y="0"/>
                </a:lnTo>
                <a:lnTo>
                  <a:pt x="739075" y="0"/>
                </a:lnTo>
                <a:lnTo>
                  <a:pt x="739084" y="0"/>
                </a:lnTo>
                <a:lnTo>
                  <a:pt x="742393" y="0"/>
                </a:lnTo>
                <a:lnTo>
                  <a:pt x="746399" y="0"/>
                </a:lnTo>
                <a:lnTo>
                  <a:pt x="758286" y="0"/>
                </a:lnTo>
                <a:lnTo>
                  <a:pt x="761328" y="0"/>
                </a:lnTo>
                <a:lnTo>
                  <a:pt x="763463" y="0"/>
                </a:lnTo>
                <a:lnTo>
                  <a:pt x="773563" y="0"/>
                </a:lnTo>
                <a:lnTo>
                  <a:pt x="773573" y="0"/>
                </a:lnTo>
                <a:lnTo>
                  <a:pt x="775349" y="0"/>
                </a:lnTo>
                <a:lnTo>
                  <a:pt x="776605" y="0"/>
                </a:lnTo>
                <a:lnTo>
                  <a:pt x="779357" y="0"/>
                </a:lnTo>
                <a:lnTo>
                  <a:pt x="779610" y="0"/>
                </a:lnTo>
                <a:lnTo>
                  <a:pt x="782652" y="0"/>
                </a:lnTo>
                <a:lnTo>
                  <a:pt x="790626" y="0"/>
                </a:lnTo>
                <a:lnTo>
                  <a:pt x="794634" y="0"/>
                </a:lnTo>
                <a:lnTo>
                  <a:pt x="796673" y="0"/>
                </a:lnTo>
                <a:lnTo>
                  <a:pt x="800681" y="0"/>
                </a:lnTo>
                <a:lnTo>
                  <a:pt x="807031" y="0"/>
                </a:lnTo>
                <a:lnTo>
                  <a:pt x="817140" y="0"/>
                </a:lnTo>
                <a:lnTo>
                  <a:pt x="818917" y="0"/>
                </a:lnTo>
                <a:lnTo>
                  <a:pt x="822924" y="0"/>
                </a:lnTo>
                <a:lnTo>
                  <a:pt x="834194" y="0"/>
                </a:lnTo>
                <a:lnTo>
                  <a:pt x="834203" y="0"/>
                </a:lnTo>
                <a:lnTo>
                  <a:pt x="838201" y="0"/>
                </a:lnTo>
                <a:lnTo>
                  <a:pt x="838211" y="0"/>
                </a:lnTo>
                <a:lnTo>
                  <a:pt x="839987" y="0"/>
                </a:lnTo>
                <a:lnTo>
                  <a:pt x="840241" y="0"/>
                </a:lnTo>
                <a:cubicBezTo>
                  <a:pt x="969321" y="0"/>
                  <a:pt x="1073960" y="104640"/>
                  <a:pt x="1073960" y="233720"/>
                </a:cubicBezTo>
                <a:lnTo>
                  <a:pt x="1073959" y="233720"/>
                </a:lnTo>
                <a:cubicBezTo>
                  <a:pt x="1073959" y="362799"/>
                  <a:pt x="969320" y="467438"/>
                  <a:pt x="840241" y="467438"/>
                </a:cubicBezTo>
                <a:lnTo>
                  <a:pt x="838212" y="467438"/>
                </a:lnTo>
                <a:lnTo>
                  <a:pt x="838210" y="467438"/>
                </a:lnTo>
                <a:lnTo>
                  <a:pt x="838201" y="467438"/>
                </a:lnTo>
                <a:lnTo>
                  <a:pt x="838200" y="467438"/>
                </a:lnTo>
                <a:lnTo>
                  <a:pt x="834205" y="467438"/>
                </a:lnTo>
                <a:lnTo>
                  <a:pt x="834202" y="467438"/>
                </a:lnTo>
                <a:lnTo>
                  <a:pt x="834193" y="467438"/>
                </a:lnTo>
                <a:lnTo>
                  <a:pt x="817140" y="467438"/>
                </a:lnTo>
                <a:lnTo>
                  <a:pt x="817139" y="467438"/>
                </a:lnTo>
                <a:lnTo>
                  <a:pt x="807030" y="467438"/>
                </a:lnTo>
                <a:lnTo>
                  <a:pt x="800683" y="467438"/>
                </a:lnTo>
                <a:lnTo>
                  <a:pt x="800680" y="467438"/>
                </a:lnTo>
                <a:lnTo>
                  <a:pt x="796675" y="467438"/>
                </a:lnTo>
                <a:lnTo>
                  <a:pt x="796673" y="467438"/>
                </a:lnTo>
                <a:lnTo>
                  <a:pt x="794635" y="467438"/>
                </a:lnTo>
                <a:lnTo>
                  <a:pt x="794633" y="467438"/>
                </a:lnTo>
                <a:lnTo>
                  <a:pt x="790628" y="467438"/>
                </a:lnTo>
                <a:lnTo>
                  <a:pt x="790625" y="467438"/>
                </a:lnTo>
                <a:lnTo>
                  <a:pt x="782652" y="467438"/>
                </a:lnTo>
                <a:lnTo>
                  <a:pt x="782651" y="467438"/>
                </a:lnTo>
                <a:lnTo>
                  <a:pt x="779610" y="467438"/>
                </a:lnTo>
                <a:lnTo>
                  <a:pt x="779609" y="467438"/>
                </a:lnTo>
                <a:lnTo>
                  <a:pt x="776605" y="467438"/>
                </a:lnTo>
                <a:lnTo>
                  <a:pt x="776604" y="467438"/>
                </a:lnTo>
                <a:lnTo>
                  <a:pt x="773574" y="467438"/>
                </a:lnTo>
                <a:lnTo>
                  <a:pt x="773572" y="467438"/>
                </a:lnTo>
                <a:lnTo>
                  <a:pt x="773563" y="467438"/>
                </a:lnTo>
                <a:lnTo>
                  <a:pt x="773562" y="467438"/>
                </a:lnTo>
                <a:lnTo>
                  <a:pt x="763464" y="467438"/>
                </a:lnTo>
                <a:lnTo>
                  <a:pt x="763462" y="467438"/>
                </a:lnTo>
                <a:lnTo>
                  <a:pt x="746399" y="467438"/>
                </a:lnTo>
                <a:lnTo>
                  <a:pt x="742392" y="467438"/>
                </a:lnTo>
                <a:lnTo>
                  <a:pt x="739086" y="467438"/>
                </a:lnTo>
                <a:lnTo>
                  <a:pt x="739083" y="467438"/>
                </a:lnTo>
                <a:lnTo>
                  <a:pt x="739074" y="467438"/>
                </a:lnTo>
                <a:lnTo>
                  <a:pt x="736045" y="467438"/>
                </a:lnTo>
                <a:lnTo>
                  <a:pt x="736042" y="467438"/>
                </a:lnTo>
                <a:lnTo>
                  <a:pt x="733038" y="467438"/>
                </a:lnTo>
                <a:lnTo>
                  <a:pt x="733036" y="467438"/>
                </a:lnTo>
                <a:lnTo>
                  <a:pt x="729997" y="467438"/>
                </a:lnTo>
                <a:lnTo>
                  <a:pt x="729995" y="467438"/>
                </a:lnTo>
                <a:lnTo>
                  <a:pt x="722021" y="467438"/>
                </a:lnTo>
                <a:lnTo>
                  <a:pt x="722020" y="467438"/>
                </a:lnTo>
                <a:lnTo>
                  <a:pt x="718014" y="467438"/>
                </a:lnTo>
                <a:lnTo>
                  <a:pt x="718013" y="467438"/>
                </a:lnTo>
                <a:lnTo>
                  <a:pt x="715974" y="467438"/>
                </a:lnTo>
                <a:lnTo>
                  <a:pt x="715973" y="467438"/>
                </a:lnTo>
                <a:lnTo>
                  <a:pt x="711967" y="467438"/>
                </a:lnTo>
                <a:lnTo>
                  <a:pt x="711966" y="467438"/>
                </a:lnTo>
                <a:lnTo>
                  <a:pt x="702834" y="467438"/>
                </a:lnTo>
                <a:lnTo>
                  <a:pt x="702832" y="467438"/>
                </a:lnTo>
                <a:lnTo>
                  <a:pt x="698826" y="467438"/>
                </a:lnTo>
                <a:lnTo>
                  <a:pt x="698824" y="467438"/>
                </a:lnTo>
                <a:lnTo>
                  <a:pt x="695509" y="467438"/>
                </a:lnTo>
                <a:lnTo>
                  <a:pt x="695506" y="467438"/>
                </a:lnTo>
                <a:lnTo>
                  <a:pt x="684803" y="467438"/>
                </a:lnTo>
                <a:lnTo>
                  <a:pt x="681761" y="467438"/>
                </a:lnTo>
                <a:lnTo>
                  <a:pt x="678455" y="467438"/>
                </a:lnTo>
                <a:lnTo>
                  <a:pt x="678453" y="467438"/>
                </a:lnTo>
                <a:lnTo>
                  <a:pt x="678444" y="467438"/>
                </a:lnTo>
                <a:lnTo>
                  <a:pt x="678443" y="467438"/>
                </a:lnTo>
                <a:lnTo>
                  <a:pt x="674448" y="467438"/>
                </a:lnTo>
                <a:lnTo>
                  <a:pt x="674445" y="467438"/>
                </a:lnTo>
                <a:lnTo>
                  <a:pt x="674436" y="467438"/>
                </a:lnTo>
                <a:lnTo>
                  <a:pt x="672407" y="467438"/>
                </a:lnTo>
                <a:lnTo>
                  <a:pt x="672406" y="467438"/>
                </a:lnTo>
                <a:lnTo>
                  <a:pt x="668400" y="467438"/>
                </a:lnTo>
                <a:lnTo>
                  <a:pt x="668398" y="467438"/>
                </a:lnTo>
                <a:lnTo>
                  <a:pt x="657383" y="467438"/>
                </a:lnTo>
                <a:lnTo>
                  <a:pt x="657382" y="467438"/>
                </a:lnTo>
                <a:lnTo>
                  <a:pt x="651336" y="467438"/>
                </a:lnTo>
                <a:lnTo>
                  <a:pt x="651335" y="467438"/>
                </a:lnTo>
                <a:lnTo>
                  <a:pt x="647273" y="467438"/>
                </a:lnTo>
                <a:lnTo>
                  <a:pt x="641237" y="467438"/>
                </a:lnTo>
                <a:lnTo>
                  <a:pt x="641235" y="467438"/>
                </a:lnTo>
                <a:lnTo>
                  <a:pt x="641225" y="467438"/>
                </a:lnTo>
                <a:lnTo>
                  <a:pt x="638196" y="467438"/>
                </a:lnTo>
                <a:lnTo>
                  <a:pt x="638194" y="467438"/>
                </a:lnTo>
                <a:lnTo>
                  <a:pt x="634878" y="467438"/>
                </a:lnTo>
                <a:lnTo>
                  <a:pt x="634876" y="467438"/>
                </a:lnTo>
                <a:lnTo>
                  <a:pt x="630871" y="467438"/>
                </a:lnTo>
                <a:lnTo>
                  <a:pt x="630868" y="467438"/>
                </a:lnTo>
                <a:lnTo>
                  <a:pt x="624172" y="467438"/>
                </a:lnTo>
                <a:lnTo>
                  <a:pt x="624171" y="467438"/>
                </a:lnTo>
                <a:lnTo>
                  <a:pt x="620165" y="467438"/>
                </a:lnTo>
                <a:lnTo>
                  <a:pt x="616848" y="467438"/>
                </a:lnTo>
                <a:lnTo>
                  <a:pt x="616847" y="467438"/>
                </a:lnTo>
                <a:lnTo>
                  <a:pt x="613817" y="467438"/>
                </a:lnTo>
                <a:lnTo>
                  <a:pt x="613815" y="467438"/>
                </a:lnTo>
                <a:lnTo>
                  <a:pt x="613806" y="467438"/>
                </a:lnTo>
                <a:lnTo>
                  <a:pt x="613805" y="467438"/>
                </a:lnTo>
                <a:lnTo>
                  <a:pt x="607769" y="467438"/>
                </a:lnTo>
                <a:lnTo>
                  <a:pt x="607768" y="467438"/>
                </a:lnTo>
                <a:lnTo>
                  <a:pt x="603707" y="467438"/>
                </a:lnTo>
                <a:lnTo>
                  <a:pt x="603705" y="467438"/>
                </a:lnTo>
                <a:lnTo>
                  <a:pt x="597660" y="467438"/>
                </a:lnTo>
                <a:lnTo>
                  <a:pt x="597657" y="467438"/>
                </a:lnTo>
                <a:lnTo>
                  <a:pt x="586642" y="467438"/>
                </a:lnTo>
                <a:lnTo>
                  <a:pt x="582635" y="467438"/>
                </a:lnTo>
                <a:lnTo>
                  <a:pt x="580606" y="467438"/>
                </a:lnTo>
                <a:lnTo>
                  <a:pt x="580604" y="467438"/>
                </a:lnTo>
                <a:lnTo>
                  <a:pt x="580595" y="467438"/>
                </a:lnTo>
                <a:lnTo>
                  <a:pt x="580594" y="467438"/>
                </a:lnTo>
                <a:lnTo>
                  <a:pt x="576599" y="467438"/>
                </a:lnTo>
                <a:lnTo>
                  <a:pt x="576597" y="467438"/>
                </a:lnTo>
                <a:lnTo>
                  <a:pt x="576587" y="467438"/>
                </a:lnTo>
                <a:lnTo>
                  <a:pt x="573281" y="467438"/>
                </a:lnTo>
                <a:lnTo>
                  <a:pt x="573279" y="467438"/>
                </a:lnTo>
                <a:lnTo>
                  <a:pt x="570240" y="467438"/>
                </a:lnTo>
                <a:lnTo>
                  <a:pt x="570238" y="467438"/>
                </a:lnTo>
                <a:lnTo>
                  <a:pt x="559534" y="467438"/>
                </a:lnTo>
                <a:lnTo>
                  <a:pt x="559533" y="467438"/>
                </a:lnTo>
                <a:lnTo>
                  <a:pt x="556217" y="467438"/>
                </a:lnTo>
                <a:lnTo>
                  <a:pt x="556216" y="467438"/>
                </a:lnTo>
                <a:lnTo>
                  <a:pt x="552210" y="467438"/>
                </a:lnTo>
                <a:lnTo>
                  <a:pt x="552209" y="467438"/>
                </a:lnTo>
                <a:lnTo>
                  <a:pt x="543077" y="467438"/>
                </a:lnTo>
                <a:lnTo>
                  <a:pt x="543075" y="467438"/>
                </a:lnTo>
                <a:lnTo>
                  <a:pt x="539069" y="467438"/>
                </a:lnTo>
                <a:lnTo>
                  <a:pt x="539067" y="467438"/>
                </a:lnTo>
                <a:lnTo>
                  <a:pt x="537030" y="467438"/>
                </a:lnTo>
                <a:lnTo>
                  <a:pt x="537027" y="467438"/>
                </a:lnTo>
                <a:lnTo>
                  <a:pt x="533022" y="467438"/>
                </a:lnTo>
                <a:lnTo>
                  <a:pt x="533019" y="467438"/>
                </a:lnTo>
                <a:lnTo>
                  <a:pt x="525046" y="467438"/>
                </a:lnTo>
                <a:lnTo>
                  <a:pt x="522004" y="467438"/>
                </a:lnTo>
                <a:lnTo>
                  <a:pt x="518999" y="467438"/>
                </a:lnTo>
                <a:lnTo>
                  <a:pt x="518998" y="467438"/>
                </a:lnTo>
                <a:lnTo>
                  <a:pt x="515968" y="467438"/>
                </a:lnTo>
                <a:lnTo>
                  <a:pt x="515966" y="467438"/>
                </a:lnTo>
                <a:lnTo>
                  <a:pt x="515957" y="467438"/>
                </a:lnTo>
                <a:lnTo>
                  <a:pt x="515956" y="467438"/>
                </a:lnTo>
                <a:lnTo>
                  <a:pt x="512650" y="467438"/>
                </a:lnTo>
                <a:lnTo>
                  <a:pt x="512649" y="467438"/>
                </a:lnTo>
                <a:lnTo>
                  <a:pt x="508643" y="467438"/>
                </a:lnTo>
                <a:lnTo>
                  <a:pt x="508641" y="467438"/>
                </a:lnTo>
                <a:lnTo>
                  <a:pt x="491579" y="467438"/>
                </a:lnTo>
                <a:lnTo>
                  <a:pt x="491578" y="467438"/>
                </a:lnTo>
                <a:lnTo>
                  <a:pt x="481480" y="467438"/>
                </a:lnTo>
                <a:lnTo>
                  <a:pt x="481478" y="467438"/>
                </a:lnTo>
                <a:lnTo>
                  <a:pt x="481468" y="467438"/>
                </a:lnTo>
                <a:lnTo>
                  <a:pt x="478439" y="467438"/>
                </a:lnTo>
                <a:lnTo>
                  <a:pt x="478437" y="467438"/>
                </a:lnTo>
                <a:lnTo>
                  <a:pt x="475433" y="467438"/>
                </a:lnTo>
                <a:lnTo>
                  <a:pt x="475430" y="467438"/>
                </a:lnTo>
                <a:lnTo>
                  <a:pt x="472392" y="467438"/>
                </a:lnTo>
                <a:lnTo>
                  <a:pt x="472389" y="467438"/>
                </a:lnTo>
                <a:lnTo>
                  <a:pt x="464415" y="467438"/>
                </a:lnTo>
                <a:lnTo>
                  <a:pt x="464414" y="467438"/>
                </a:lnTo>
                <a:lnTo>
                  <a:pt x="460408" y="467438"/>
                </a:lnTo>
                <a:lnTo>
                  <a:pt x="458368" y="467438"/>
                </a:lnTo>
                <a:lnTo>
                  <a:pt x="458367" y="467438"/>
                </a:lnTo>
                <a:lnTo>
                  <a:pt x="454361" y="467438"/>
                </a:lnTo>
                <a:lnTo>
                  <a:pt x="454360" y="467438"/>
                </a:lnTo>
                <a:lnTo>
                  <a:pt x="448012" y="467438"/>
                </a:lnTo>
                <a:lnTo>
                  <a:pt x="448011" y="467438"/>
                </a:lnTo>
                <a:lnTo>
                  <a:pt x="437903" y="467438"/>
                </a:lnTo>
                <a:lnTo>
                  <a:pt x="437900" y="467438"/>
                </a:lnTo>
                <a:lnTo>
                  <a:pt x="420849" y="467438"/>
                </a:lnTo>
                <a:lnTo>
                  <a:pt x="420847" y="467438"/>
                </a:lnTo>
                <a:lnTo>
                  <a:pt x="420838" y="467438"/>
                </a:lnTo>
                <a:lnTo>
                  <a:pt x="420837" y="467438"/>
                </a:lnTo>
                <a:lnTo>
                  <a:pt x="416842" y="467438"/>
                </a:lnTo>
                <a:lnTo>
                  <a:pt x="416840" y="467438"/>
                </a:lnTo>
                <a:lnTo>
                  <a:pt x="416830" y="467438"/>
                </a:lnTo>
                <a:lnTo>
                  <a:pt x="414802" y="467438"/>
                </a:lnTo>
                <a:lnTo>
                  <a:pt x="414800" y="467438"/>
                </a:lnTo>
                <a:lnTo>
                  <a:pt x="233720" y="467437"/>
                </a:lnTo>
                <a:cubicBezTo>
                  <a:pt x="120774" y="467437"/>
                  <a:pt x="26542" y="387323"/>
                  <a:pt x="4748" y="280821"/>
                </a:cubicBezTo>
                <a:lnTo>
                  <a:pt x="0" y="233720"/>
                </a:lnTo>
                <a:lnTo>
                  <a:pt x="4748" y="186617"/>
                </a:lnTo>
                <a:cubicBezTo>
                  <a:pt x="26542" y="80115"/>
                  <a:pt x="120774" y="0"/>
                  <a:pt x="233720" y="0"/>
                </a:cubicBezTo>
                <a:close/>
              </a:path>
            </a:pathLst>
          </a:custGeom>
          <a:noFill/>
          <a:ln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2" name="Полилиния 51"/>
          <p:cNvSpPr/>
          <p:nvPr/>
        </p:nvSpPr>
        <p:spPr>
          <a:xfrm>
            <a:off x="9820872" y="2945536"/>
            <a:ext cx="957893" cy="388075"/>
          </a:xfrm>
          <a:custGeom>
            <a:avLst/>
            <a:gdLst>
              <a:gd name="connsiteX0" fmla="*/ 233720 w 1138598"/>
              <a:gd name="connsiteY0" fmla="*/ 0 h 467438"/>
              <a:gd name="connsiteX1" fmla="*/ 239757 w 1138598"/>
              <a:gd name="connsiteY1" fmla="*/ 0 h 467438"/>
              <a:gd name="connsiteX2" fmla="*/ 239767 w 1138598"/>
              <a:gd name="connsiteY2" fmla="*/ 0 h 467438"/>
              <a:gd name="connsiteX3" fmla="*/ 255044 w 1138598"/>
              <a:gd name="connsiteY3" fmla="*/ 0 h 467438"/>
              <a:gd name="connsiteX4" fmla="*/ 256820 w 1138598"/>
              <a:gd name="connsiteY4" fmla="*/ 0 h 467438"/>
              <a:gd name="connsiteX5" fmla="*/ 277287 w 1138598"/>
              <a:gd name="connsiteY5" fmla="*/ 0 h 467438"/>
              <a:gd name="connsiteX6" fmla="*/ 283334 w 1138598"/>
              <a:gd name="connsiteY6" fmla="*/ 0 h 467438"/>
              <a:gd name="connsiteX7" fmla="*/ 294350 w 1138598"/>
              <a:gd name="connsiteY7" fmla="*/ 0 h 467438"/>
              <a:gd name="connsiteX8" fmla="*/ 298611 w 1138598"/>
              <a:gd name="connsiteY8" fmla="*/ 0 h 467438"/>
              <a:gd name="connsiteX9" fmla="*/ 300388 w 1138598"/>
              <a:gd name="connsiteY9" fmla="*/ 0 h 467438"/>
              <a:gd name="connsiteX10" fmla="*/ 300397 w 1138598"/>
              <a:gd name="connsiteY10" fmla="*/ 0 h 467438"/>
              <a:gd name="connsiteX11" fmla="*/ 315674 w 1138598"/>
              <a:gd name="connsiteY11" fmla="*/ 0 h 467438"/>
              <a:gd name="connsiteX12" fmla="*/ 331568 w 1138598"/>
              <a:gd name="connsiteY12" fmla="*/ 0 h 467438"/>
              <a:gd name="connsiteX13" fmla="*/ 337918 w 1138598"/>
              <a:gd name="connsiteY13" fmla="*/ 0 h 467438"/>
              <a:gd name="connsiteX14" fmla="*/ 343965 w 1138598"/>
              <a:gd name="connsiteY14" fmla="*/ 0 h 467438"/>
              <a:gd name="connsiteX15" fmla="*/ 355947 w 1138598"/>
              <a:gd name="connsiteY15" fmla="*/ 0 h 467438"/>
              <a:gd name="connsiteX16" fmla="*/ 359242 w 1138598"/>
              <a:gd name="connsiteY16" fmla="*/ 0 h 467438"/>
              <a:gd name="connsiteX17" fmla="*/ 361994 w 1138598"/>
              <a:gd name="connsiteY17" fmla="*/ 0 h 467438"/>
              <a:gd name="connsiteX18" fmla="*/ 375135 w 1138598"/>
              <a:gd name="connsiteY18" fmla="*/ 0 h 467438"/>
              <a:gd name="connsiteX19" fmla="*/ 377271 w 1138598"/>
              <a:gd name="connsiteY19" fmla="*/ 0 h 467438"/>
              <a:gd name="connsiteX20" fmla="*/ 392199 w 1138598"/>
              <a:gd name="connsiteY20" fmla="*/ 0 h 467438"/>
              <a:gd name="connsiteX21" fmla="*/ 399514 w 1138598"/>
              <a:gd name="connsiteY21" fmla="*/ 0 h 467438"/>
              <a:gd name="connsiteX22" fmla="*/ 399524 w 1138598"/>
              <a:gd name="connsiteY22" fmla="*/ 0 h 467438"/>
              <a:gd name="connsiteX23" fmla="*/ 405561 w 1138598"/>
              <a:gd name="connsiteY23" fmla="*/ 0 h 467438"/>
              <a:gd name="connsiteX24" fmla="*/ 414801 w 1138598"/>
              <a:gd name="connsiteY24" fmla="*/ 0 h 467438"/>
              <a:gd name="connsiteX25" fmla="*/ 416577 w 1138598"/>
              <a:gd name="connsiteY25" fmla="*/ 0 h 467438"/>
              <a:gd name="connsiteX26" fmla="*/ 420838 w 1138598"/>
              <a:gd name="connsiteY26" fmla="*/ 0 h 467438"/>
              <a:gd name="connsiteX27" fmla="*/ 420848 w 1138598"/>
              <a:gd name="connsiteY27" fmla="*/ 0 h 467438"/>
              <a:gd name="connsiteX28" fmla="*/ 422625 w 1138598"/>
              <a:gd name="connsiteY28" fmla="*/ 0 h 467438"/>
              <a:gd name="connsiteX29" fmla="*/ 435767 w 1138598"/>
              <a:gd name="connsiteY29" fmla="*/ 0 h 467438"/>
              <a:gd name="connsiteX30" fmla="*/ 437901 w 1138598"/>
              <a:gd name="connsiteY30" fmla="*/ 0 h 467438"/>
              <a:gd name="connsiteX31" fmla="*/ 443091 w 1138598"/>
              <a:gd name="connsiteY31" fmla="*/ 0 h 467438"/>
              <a:gd name="connsiteX32" fmla="*/ 453796 w 1138598"/>
              <a:gd name="connsiteY32" fmla="*/ 0 h 467438"/>
              <a:gd name="connsiteX33" fmla="*/ 458368 w 1138598"/>
              <a:gd name="connsiteY33" fmla="*/ 0 h 467438"/>
              <a:gd name="connsiteX34" fmla="*/ 460145 w 1138598"/>
              <a:gd name="connsiteY34" fmla="*/ 0 h 467438"/>
              <a:gd name="connsiteX35" fmla="*/ 460154 w 1138598"/>
              <a:gd name="connsiteY35" fmla="*/ 0 h 467438"/>
              <a:gd name="connsiteX36" fmla="*/ 464415 w 1138598"/>
              <a:gd name="connsiteY36" fmla="*/ 0 h 467438"/>
              <a:gd name="connsiteX37" fmla="*/ 466193 w 1138598"/>
              <a:gd name="connsiteY37" fmla="*/ 0 h 467438"/>
              <a:gd name="connsiteX38" fmla="*/ 475431 w 1138598"/>
              <a:gd name="connsiteY38" fmla="*/ 0 h 467438"/>
              <a:gd name="connsiteX39" fmla="*/ 481469 w 1138598"/>
              <a:gd name="connsiteY39" fmla="*/ 0 h 467438"/>
              <a:gd name="connsiteX40" fmla="*/ 481478 w 1138598"/>
              <a:gd name="connsiteY40" fmla="*/ 0 h 467438"/>
              <a:gd name="connsiteX41" fmla="*/ 491325 w 1138598"/>
              <a:gd name="connsiteY41" fmla="*/ 0 h 467438"/>
              <a:gd name="connsiteX42" fmla="*/ 497363 w 1138598"/>
              <a:gd name="connsiteY42" fmla="*/ 0 h 467438"/>
              <a:gd name="connsiteX43" fmla="*/ 497373 w 1138598"/>
              <a:gd name="connsiteY43" fmla="*/ 0 h 467438"/>
              <a:gd name="connsiteX44" fmla="*/ 503722 w 1138598"/>
              <a:gd name="connsiteY44" fmla="*/ 0 h 467438"/>
              <a:gd name="connsiteX45" fmla="*/ 512649 w 1138598"/>
              <a:gd name="connsiteY45" fmla="*/ 0 h 467438"/>
              <a:gd name="connsiteX46" fmla="*/ 514426 w 1138598"/>
              <a:gd name="connsiteY46" fmla="*/ 0 h 467438"/>
              <a:gd name="connsiteX47" fmla="*/ 518999 w 1138598"/>
              <a:gd name="connsiteY47" fmla="*/ 0 h 467438"/>
              <a:gd name="connsiteX48" fmla="*/ 521751 w 1138598"/>
              <a:gd name="connsiteY48" fmla="*/ 0 h 467438"/>
              <a:gd name="connsiteX49" fmla="*/ 525046 w 1138598"/>
              <a:gd name="connsiteY49" fmla="*/ 0 h 467438"/>
              <a:gd name="connsiteX50" fmla="*/ 534892 w 1138598"/>
              <a:gd name="connsiteY50" fmla="*/ 0 h 467438"/>
              <a:gd name="connsiteX51" fmla="*/ 537028 w 1138598"/>
              <a:gd name="connsiteY51" fmla="*/ 0 h 467438"/>
              <a:gd name="connsiteX52" fmla="*/ 540940 w 1138598"/>
              <a:gd name="connsiteY52" fmla="*/ 0 h 467438"/>
              <a:gd name="connsiteX53" fmla="*/ 543075 w 1138598"/>
              <a:gd name="connsiteY53" fmla="*/ 0 h 467438"/>
              <a:gd name="connsiteX54" fmla="*/ 551956 w 1138598"/>
              <a:gd name="connsiteY54" fmla="*/ 0 h 467438"/>
              <a:gd name="connsiteX55" fmla="*/ 556217 w 1138598"/>
              <a:gd name="connsiteY55" fmla="*/ 0 h 467438"/>
              <a:gd name="connsiteX56" fmla="*/ 557994 w 1138598"/>
              <a:gd name="connsiteY56" fmla="*/ 0 h 467438"/>
              <a:gd name="connsiteX57" fmla="*/ 558003 w 1138598"/>
              <a:gd name="connsiteY57" fmla="*/ 0 h 467438"/>
              <a:gd name="connsiteX58" fmla="*/ 565318 w 1138598"/>
              <a:gd name="connsiteY58" fmla="*/ 0 h 467438"/>
              <a:gd name="connsiteX59" fmla="*/ 573280 w 1138598"/>
              <a:gd name="connsiteY59" fmla="*/ 0 h 467438"/>
              <a:gd name="connsiteX60" fmla="*/ 580595 w 1138598"/>
              <a:gd name="connsiteY60" fmla="*/ 0 h 467438"/>
              <a:gd name="connsiteX61" fmla="*/ 580605 w 1138598"/>
              <a:gd name="connsiteY61" fmla="*/ 0 h 467438"/>
              <a:gd name="connsiteX62" fmla="*/ 582382 w 1138598"/>
              <a:gd name="connsiteY62" fmla="*/ 0 h 467438"/>
              <a:gd name="connsiteX63" fmla="*/ 586642 w 1138598"/>
              <a:gd name="connsiteY63" fmla="*/ 0 h 467438"/>
              <a:gd name="connsiteX64" fmla="*/ 595524 w 1138598"/>
              <a:gd name="connsiteY64" fmla="*/ 0 h 467438"/>
              <a:gd name="connsiteX65" fmla="*/ 597658 w 1138598"/>
              <a:gd name="connsiteY65" fmla="*/ 0 h 467438"/>
              <a:gd name="connsiteX66" fmla="*/ 601571 w 1138598"/>
              <a:gd name="connsiteY66" fmla="*/ 0 h 467438"/>
              <a:gd name="connsiteX67" fmla="*/ 603706 w 1138598"/>
              <a:gd name="connsiteY67" fmla="*/ 0 h 467438"/>
              <a:gd name="connsiteX68" fmla="*/ 613553 w 1138598"/>
              <a:gd name="connsiteY68" fmla="*/ 0 h 467438"/>
              <a:gd name="connsiteX69" fmla="*/ 616848 w 1138598"/>
              <a:gd name="connsiteY69" fmla="*/ 0 h 467438"/>
              <a:gd name="connsiteX70" fmla="*/ 619600 w 1138598"/>
              <a:gd name="connsiteY70" fmla="*/ 0 h 467438"/>
              <a:gd name="connsiteX71" fmla="*/ 624172 w 1138598"/>
              <a:gd name="connsiteY71" fmla="*/ 0 h 467438"/>
              <a:gd name="connsiteX72" fmla="*/ 625950 w 1138598"/>
              <a:gd name="connsiteY72" fmla="*/ 0 h 467438"/>
              <a:gd name="connsiteX73" fmla="*/ 634877 w 1138598"/>
              <a:gd name="connsiteY73" fmla="*/ 0 h 467438"/>
              <a:gd name="connsiteX74" fmla="*/ 641226 w 1138598"/>
              <a:gd name="connsiteY74" fmla="*/ 0 h 467438"/>
              <a:gd name="connsiteX75" fmla="*/ 641235 w 1138598"/>
              <a:gd name="connsiteY75" fmla="*/ 0 h 467438"/>
              <a:gd name="connsiteX76" fmla="*/ 647274 w 1138598"/>
              <a:gd name="connsiteY76" fmla="*/ 0 h 467438"/>
              <a:gd name="connsiteX77" fmla="*/ 657120 w 1138598"/>
              <a:gd name="connsiteY77" fmla="*/ 0 h 467438"/>
              <a:gd name="connsiteX78" fmla="*/ 657130 w 1138598"/>
              <a:gd name="connsiteY78" fmla="*/ 0 h 467438"/>
              <a:gd name="connsiteX79" fmla="*/ 663167 w 1138598"/>
              <a:gd name="connsiteY79" fmla="*/ 0 h 467438"/>
              <a:gd name="connsiteX80" fmla="*/ 672406 w 1138598"/>
              <a:gd name="connsiteY80" fmla="*/ 0 h 467438"/>
              <a:gd name="connsiteX81" fmla="*/ 674183 w 1138598"/>
              <a:gd name="connsiteY81" fmla="*/ 0 h 467438"/>
              <a:gd name="connsiteX82" fmla="*/ 678444 w 1138598"/>
              <a:gd name="connsiteY82" fmla="*/ 0 h 467438"/>
              <a:gd name="connsiteX83" fmla="*/ 678454 w 1138598"/>
              <a:gd name="connsiteY83" fmla="*/ 0 h 467438"/>
              <a:gd name="connsiteX84" fmla="*/ 680230 w 1138598"/>
              <a:gd name="connsiteY84" fmla="*/ 0 h 467438"/>
              <a:gd name="connsiteX85" fmla="*/ 684803 w 1138598"/>
              <a:gd name="connsiteY85" fmla="*/ 0 h 467438"/>
              <a:gd name="connsiteX86" fmla="*/ 695507 w 1138598"/>
              <a:gd name="connsiteY86" fmla="*/ 0 h 467438"/>
              <a:gd name="connsiteX87" fmla="*/ 700697 w 1138598"/>
              <a:gd name="connsiteY87" fmla="*/ 0 h 467438"/>
              <a:gd name="connsiteX88" fmla="*/ 702832 w 1138598"/>
              <a:gd name="connsiteY88" fmla="*/ 0 h 467438"/>
              <a:gd name="connsiteX89" fmla="*/ 715974 w 1138598"/>
              <a:gd name="connsiteY89" fmla="*/ 0 h 467438"/>
              <a:gd name="connsiteX90" fmla="*/ 717751 w 1138598"/>
              <a:gd name="connsiteY90" fmla="*/ 0 h 467438"/>
              <a:gd name="connsiteX91" fmla="*/ 717760 w 1138598"/>
              <a:gd name="connsiteY91" fmla="*/ 0 h 467438"/>
              <a:gd name="connsiteX92" fmla="*/ 722021 w 1138598"/>
              <a:gd name="connsiteY92" fmla="*/ 0 h 467438"/>
              <a:gd name="connsiteX93" fmla="*/ 723798 w 1138598"/>
              <a:gd name="connsiteY93" fmla="*/ 0 h 467438"/>
              <a:gd name="connsiteX94" fmla="*/ 733037 w 1138598"/>
              <a:gd name="connsiteY94" fmla="*/ 0 h 467438"/>
              <a:gd name="connsiteX95" fmla="*/ 739075 w 1138598"/>
              <a:gd name="connsiteY95" fmla="*/ 0 h 467438"/>
              <a:gd name="connsiteX96" fmla="*/ 739084 w 1138598"/>
              <a:gd name="connsiteY96" fmla="*/ 0 h 467438"/>
              <a:gd name="connsiteX97" fmla="*/ 746399 w 1138598"/>
              <a:gd name="connsiteY97" fmla="*/ 0 h 467438"/>
              <a:gd name="connsiteX98" fmla="*/ 761328 w 1138598"/>
              <a:gd name="connsiteY98" fmla="*/ 0 h 467438"/>
              <a:gd name="connsiteX99" fmla="*/ 763463 w 1138598"/>
              <a:gd name="connsiteY99" fmla="*/ 0 h 467438"/>
              <a:gd name="connsiteX100" fmla="*/ 776605 w 1138598"/>
              <a:gd name="connsiteY100" fmla="*/ 0 h 467438"/>
              <a:gd name="connsiteX101" fmla="*/ 779357 w 1138598"/>
              <a:gd name="connsiteY101" fmla="*/ 0 h 467438"/>
              <a:gd name="connsiteX102" fmla="*/ 782652 w 1138598"/>
              <a:gd name="connsiteY102" fmla="*/ 0 h 467438"/>
              <a:gd name="connsiteX103" fmla="*/ 794634 w 1138598"/>
              <a:gd name="connsiteY103" fmla="*/ 0 h 467438"/>
              <a:gd name="connsiteX104" fmla="*/ 800681 w 1138598"/>
              <a:gd name="connsiteY104" fmla="*/ 0 h 467438"/>
              <a:gd name="connsiteX105" fmla="*/ 807031 w 1138598"/>
              <a:gd name="connsiteY105" fmla="*/ 0 h 467438"/>
              <a:gd name="connsiteX106" fmla="*/ 822924 w 1138598"/>
              <a:gd name="connsiteY106" fmla="*/ 0 h 467438"/>
              <a:gd name="connsiteX107" fmla="*/ 838201 w 1138598"/>
              <a:gd name="connsiteY107" fmla="*/ 0 h 467438"/>
              <a:gd name="connsiteX108" fmla="*/ 838211 w 1138598"/>
              <a:gd name="connsiteY108" fmla="*/ 0 h 467438"/>
              <a:gd name="connsiteX109" fmla="*/ 839987 w 1138598"/>
              <a:gd name="connsiteY109" fmla="*/ 0 h 467438"/>
              <a:gd name="connsiteX110" fmla="*/ 844248 w 1138598"/>
              <a:gd name="connsiteY110" fmla="*/ 0 h 467438"/>
              <a:gd name="connsiteX111" fmla="*/ 855264 w 1138598"/>
              <a:gd name="connsiteY111" fmla="*/ 0 h 467438"/>
              <a:gd name="connsiteX112" fmla="*/ 861311 w 1138598"/>
              <a:gd name="connsiteY112" fmla="*/ 0 h 467438"/>
              <a:gd name="connsiteX113" fmla="*/ 881778 w 1138598"/>
              <a:gd name="connsiteY113" fmla="*/ 0 h 467438"/>
              <a:gd name="connsiteX114" fmla="*/ 883555 w 1138598"/>
              <a:gd name="connsiteY114" fmla="*/ 0 h 467438"/>
              <a:gd name="connsiteX115" fmla="*/ 898832 w 1138598"/>
              <a:gd name="connsiteY115" fmla="*/ 0 h 467438"/>
              <a:gd name="connsiteX116" fmla="*/ 898841 w 1138598"/>
              <a:gd name="connsiteY116" fmla="*/ 0 h 467438"/>
              <a:gd name="connsiteX117" fmla="*/ 904879 w 1138598"/>
              <a:gd name="connsiteY117" fmla="*/ 0 h 467438"/>
              <a:gd name="connsiteX118" fmla="*/ 1138598 w 1138598"/>
              <a:gd name="connsiteY118" fmla="*/ 233720 h 467438"/>
              <a:gd name="connsiteX119" fmla="*/ 1138597 w 1138598"/>
              <a:gd name="connsiteY119" fmla="*/ 233720 h 467438"/>
              <a:gd name="connsiteX120" fmla="*/ 904879 w 1138598"/>
              <a:gd name="connsiteY120" fmla="*/ 467438 h 467438"/>
              <a:gd name="connsiteX121" fmla="*/ 898843 w 1138598"/>
              <a:gd name="connsiteY121" fmla="*/ 467438 h 467438"/>
              <a:gd name="connsiteX122" fmla="*/ 898840 w 1138598"/>
              <a:gd name="connsiteY122" fmla="*/ 467438 h 467438"/>
              <a:gd name="connsiteX123" fmla="*/ 898831 w 1138598"/>
              <a:gd name="connsiteY123" fmla="*/ 467438 h 467438"/>
              <a:gd name="connsiteX124" fmla="*/ 881778 w 1138598"/>
              <a:gd name="connsiteY124" fmla="*/ 467438 h 467438"/>
              <a:gd name="connsiteX125" fmla="*/ 881777 w 1138598"/>
              <a:gd name="connsiteY125" fmla="*/ 467438 h 467438"/>
              <a:gd name="connsiteX126" fmla="*/ 861313 w 1138598"/>
              <a:gd name="connsiteY126" fmla="*/ 467438 h 467438"/>
              <a:gd name="connsiteX127" fmla="*/ 861311 w 1138598"/>
              <a:gd name="connsiteY127" fmla="*/ 467438 h 467438"/>
              <a:gd name="connsiteX128" fmla="*/ 855266 w 1138598"/>
              <a:gd name="connsiteY128" fmla="*/ 467438 h 467438"/>
              <a:gd name="connsiteX129" fmla="*/ 855263 w 1138598"/>
              <a:gd name="connsiteY129" fmla="*/ 467438 h 467438"/>
              <a:gd name="connsiteX130" fmla="*/ 844248 w 1138598"/>
              <a:gd name="connsiteY130" fmla="*/ 467438 h 467438"/>
              <a:gd name="connsiteX131" fmla="*/ 844247 w 1138598"/>
              <a:gd name="connsiteY131" fmla="*/ 467438 h 467438"/>
              <a:gd name="connsiteX132" fmla="*/ 838212 w 1138598"/>
              <a:gd name="connsiteY132" fmla="*/ 467438 h 467438"/>
              <a:gd name="connsiteX133" fmla="*/ 838210 w 1138598"/>
              <a:gd name="connsiteY133" fmla="*/ 467438 h 467438"/>
              <a:gd name="connsiteX134" fmla="*/ 838201 w 1138598"/>
              <a:gd name="connsiteY134" fmla="*/ 467438 h 467438"/>
              <a:gd name="connsiteX135" fmla="*/ 838200 w 1138598"/>
              <a:gd name="connsiteY135" fmla="*/ 467438 h 467438"/>
              <a:gd name="connsiteX136" fmla="*/ 807030 w 1138598"/>
              <a:gd name="connsiteY136" fmla="*/ 467438 h 467438"/>
              <a:gd name="connsiteX137" fmla="*/ 800683 w 1138598"/>
              <a:gd name="connsiteY137" fmla="*/ 467438 h 467438"/>
              <a:gd name="connsiteX138" fmla="*/ 800680 w 1138598"/>
              <a:gd name="connsiteY138" fmla="*/ 467438 h 467438"/>
              <a:gd name="connsiteX139" fmla="*/ 794635 w 1138598"/>
              <a:gd name="connsiteY139" fmla="*/ 467438 h 467438"/>
              <a:gd name="connsiteX140" fmla="*/ 794633 w 1138598"/>
              <a:gd name="connsiteY140" fmla="*/ 467438 h 467438"/>
              <a:gd name="connsiteX141" fmla="*/ 782652 w 1138598"/>
              <a:gd name="connsiteY141" fmla="*/ 467438 h 467438"/>
              <a:gd name="connsiteX142" fmla="*/ 782651 w 1138598"/>
              <a:gd name="connsiteY142" fmla="*/ 467438 h 467438"/>
              <a:gd name="connsiteX143" fmla="*/ 776605 w 1138598"/>
              <a:gd name="connsiteY143" fmla="*/ 467438 h 467438"/>
              <a:gd name="connsiteX144" fmla="*/ 776604 w 1138598"/>
              <a:gd name="connsiteY144" fmla="*/ 467438 h 467438"/>
              <a:gd name="connsiteX145" fmla="*/ 763464 w 1138598"/>
              <a:gd name="connsiteY145" fmla="*/ 467438 h 467438"/>
              <a:gd name="connsiteX146" fmla="*/ 763462 w 1138598"/>
              <a:gd name="connsiteY146" fmla="*/ 467438 h 467438"/>
              <a:gd name="connsiteX147" fmla="*/ 746399 w 1138598"/>
              <a:gd name="connsiteY147" fmla="*/ 467438 h 467438"/>
              <a:gd name="connsiteX148" fmla="*/ 746399 w 1138598"/>
              <a:gd name="connsiteY148" fmla="*/ 467438 h 467438"/>
              <a:gd name="connsiteX149" fmla="*/ 739086 w 1138598"/>
              <a:gd name="connsiteY149" fmla="*/ 467438 h 467438"/>
              <a:gd name="connsiteX150" fmla="*/ 739083 w 1138598"/>
              <a:gd name="connsiteY150" fmla="*/ 467438 h 467438"/>
              <a:gd name="connsiteX151" fmla="*/ 739074 w 1138598"/>
              <a:gd name="connsiteY151" fmla="*/ 467438 h 467438"/>
              <a:gd name="connsiteX152" fmla="*/ 733038 w 1138598"/>
              <a:gd name="connsiteY152" fmla="*/ 467438 h 467438"/>
              <a:gd name="connsiteX153" fmla="*/ 733036 w 1138598"/>
              <a:gd name="connsiteY153" fmla="*/ 467438 h 467438"/>
              <a:gd name="connsiteX154" fmla="*/ 722021 w 1138598"/>
              <a:gd name="connsiteY154" fmla="*/ 467438 h 467438"/>
              <a:gd name="connsiteX155" fmla="*/ 722020 w 1138598"/>
              <a:gd name="connsiteY155" fmla="*/ 467438 h 467438"/>
              <a:gd name="connsiteX156" fmla="*/ 715974 w 1138598"/>
              <a:gd name="connsiteY156" fmla="*/ 467438 h 467438"/>
              <a:gd name="connsiteX157" fmla="*/ 715973 w 1138598"/>
              <a:gd name="connsiteY157" fmla="*/ 467438 h 467438"/>
              <a:gd name="connsiteX158" fmla="*/ 702834 w 1138598"/>
              <a:gd name="connsiteY158" fmla="*/ 467438 h 467438"/>
              <a:gd name="connsiteX159" fmla="*/ 702832 w 1138598"/>
              <a:gd name="connsiteY159" fmla="*/ 467438 h 467438"/>
              <a:gd name="connsiteX160" fmla="*/ 695509 w 1138598"/>
              <a:gd name="connsiteY160" fmla="*/ 467438 h 467438"/>
              <a:gd name="connsiteX161" fmla="*/ 695506 w 1138598"/>
              <a:gd name="connsiteY161" fmla="*/ 467438 h 467438"/>
              <a:gd name="connsiteX162" fmla="*/ 684803 w 1138598"/>
              <a:gd name="connsiteY162" fmla="*/ 467438 h 467438"/>
              <a:gd name="connsiteX163" fmla="*/ 684803 w 1138598"/>
              <a:gd name="connsiteY163" fmla="*/ 467438 h 467438"/>
              <a:gd name="connsiteX164" fmla="*/ 678455 w 1138598"/>
              <a:gd name="connsiteY164" fmla="*/ 467438 h 467438"/>
              <a:gd name="connsiteX165" fmla="*/ 678453 w 1138598"/>
              <a:gd name="connsiteY165" fmla="*/ 467438 h 467438"/>
              <a:gd name="connsiteX166" fmla="*/ 678444 w 1138598"/>
              <a:gd name="connsiteY166" fmla="*/ 467438 h 467438"/>
              <a:gd name="connsiteX167" fmla="*/ 678443 w 1138598"/>
              <a:gd name="connsiteY167" fmla="*/ 467438 h 467438"/>
              <a:gd name="connsiteX168" fmla="*/ 672407 w 1138598"/>
              <a:gd name="connsiteY168" fmla="*/ 467438 h 467438"/>
              <a:gd name="connsiteX169" fmla="*/ 672406 w 1138598"/>
              <a:gd name="connsiteY169" fmla="*/ 467438 h 467438"/>
              <a:gd name="connsiteX170" fmla="*/ 647273 w 1138598"/>
              <a:gd name="connsiteY170" fmla="*/ 467438 h 467438"/>
              <a:gd name="connsiteX171" fmla="*/ 641237 w 1138598"/>
              <a:gd name="connsiteY171" fmla="*/ 467438 h 467438"/>
              <a:gd name="connsiteX172" fmla="*/ 641235 w 1138598"/>
              <a:gd name="connsiteY172" fmla="*/ 467438 h 467438"/>
              <a:gd name="connsiteX173" fmla="*/ 641225 w 1138598"/>
              <a:gd name="connsiteY173" fmla="*/ 467438 h 467438"/>
              <a:gd name="connsiteX174" fmla="*/ 634878 w 1138598"/>
              <a:gd name="connsiteY174" fmla="*/ 467438 h 467438"/>
              <a:gd name="connsiteX175" fmla="*/ 634876 w 1138598"/>
              <a:gd name="connsiteY175" fmla="*/ 467438 h 467438"/>
              <a:gd name="connsiteX176" fmla="*/ 624172 w 1138598"/>
              <a:gd name="connsiteY176" fmla="*/ 467438 h 467438"/>
              <a:gd name="connsiteX177" fmla="*/ 624171 w 1138598"/>
              <a:gd name="connsiteY177" fmla="*/ 467438 h 467438"/>
              <a:gd name="connsiteX178" fmla="*/ 616848 w 1138598"/>
              <a:gd name="connsiteY178" fmla="*/ 467438 h 467438"/>
              <a:gd name="connsiteX179" fmla="*/ 616847 w 1138598"/>
              <a:gd name="connsiteY179" fmla="*/ 467438 h 467438"/>
              <a:gd name="connsiteX180" fmla="*/ 603707 w 1138598"/>
              <a:gd name="connsiteY180" fmla="*/ 467438 h 467438"/>
              <a:gd name="connsiteX181" fmla="*/ 603705 w 1138598"/>
              <a:gd name="connsiteY181" fmla="*/ 467438 h 467438"/>
              <a:gd name="connsiteX182" fmla="*/ 597660 w 1138598"/>
              <a:gd name="connsiteY182" fmla="*/ 467438 h 467438"/>
              <a:gd name="connsiteX183" fmla="*/ 597657 w 1138598"/>
              <a:gd name="connsiteY183" fmla="*/ 467438 h 467438"/>
              <a:gd name="connsiteX184" fmla="*/ 586642 w 1138598"/>
              <a:gd name="connsiteY184" fmla="*/ 467438 h 467438"/>
              <a:gd name="connsiteX185" fmla="*/ 586642 w 1138598"/>
              <a:gd name="connsiteY185" fmla="*/ 467438 h 467438"/>
              <a:gd name="connsiteX186" fmla="*/ 580606 w 1138598"/>
              <a:gd name="connsiteY186" fmla="*/ 467438 h 467438"/>
              <a:gd name="connsiteX187" fmla="*/ 580604 w 1138598"/>
              <a:gd name="connsiteY187" fmla="*/ 467438 h 467438"/>
              <a:gd name="connsiteX188" fmla="*/ 580595 w 1138598"/>
              <a:gd name="connsiteY188" fmla="*/ 467438 h 467438"/>
              <a:gd name="connsiteX189" fmla="*/ 580594 w 1138598"/>
              <a:gd name="connsiteY189" fmla="*/ 467438 h 467438"/>
              <a:gd name="connsiteX190" fmla="*/ 573281 w 1138598"/>
              <a:gd name="connsiteY190" fmla="*/ 467438 h 467438"/>
              <a:gd name="connsiteX191" fmla="*/ 573279 w 1138598"/>
              <a:gd name="connsiteY191" fmla="*/ 467438 h 467438"/>
              <a:gd name="connsiteX192" fmla="*/ 556217 w 1138598"/>
              <a:gd name="connsiteY192" fmla="*/ 467438 h 467438"/>
              <a:gd name="connsiteX193" fmla="*/ 556216 w 1138598"/>
              <a:gd name="connsiteY193" fmla="*/ 467438 h 467438"/>
              <a:gd name="connsiteX194" fmla="*/ 543077 w 1138598"/>
              <a:gd name="connsiteY194" fmla="*/ 467438 h 467438"/>
              <a:gd name="connsiteX195" fmla="*/ 543075 w 1138598"/>
              <a:gd name="connsiteY195" fmla="*/ 467438 h 467438"/>
              <a:gd name="connsiteX196" fmla="*/ 537030 w 1138598"/>
              <a:gd name="connsiteY196" fmla="*/ 467438 h 467438"/>
              <a:gd name="connsiteX197" fmla="*/ 537027 w 1138598"/>
              <a:gd name="connsiteY197" fmla="*/ 467438 h 467438"/>
              <a:gd name="connsiteX198" fmla="*/ 525046 w 1138598"/>
              <a:gd name="connsiteY198" fmla="*/ 467438 h 467438"/>
              <a:gd name="connsiteX199" fmla="*/ 525046 w 1138598"/>
              <a:gd name="connsiteY199" fmla="*/ 467438 h 467438"/>
              <a:gd name="connsiteX200" fmla="*/ 518999 w 1138598"/>
              <a:gd name="connsiteY200" fmla="*/ 467438 h 467438"/>
              <a:gd name="connsiteX201" fmla="*/ 518998 w 1138598"/>
              <a:gd name="connsiteY201" fmla="*/ 467438 h 467438"/>
              <a:gd name="connsiteX202" fmla="*/ 512650 w 1138598"/>
              <a:gd name="connsiteY202" fmla="*/ 467438 h 467438"/>
              <a:gd name="connsiteX203" fmla="*/ 512649 w 1138598"/>
              <a:gd name="connsiteY203" fmla="*/ 467438 h 467438"/>
              <a:gd name="connsiteX204" fmla="*/ 481480 w 1138598"/>
              <a:gd name="connsiteY204" fmla="*/ 467438 h 467438"/>
              <a:gd name="connsiteX205" fmla="*/ 481478 w 1138598"/>
              <a:gd name="connsiteY205" fmla="*/ 467438 h 467438"/>
              <a:gd name="connsiteX206" fmla="*/ 481468 w 1138598"/>
              <a:gd name="connsiteY206" fmla="*/ 467438 h 467438"/>
              <a:gd name="connsiteX207" fmla="*/ 475433 w 1138598"/>
              <a:gd name="connsiteY207" fmla="*/ 467438 h 467438"/>
              <a:gd name="connsiteX208" fmla="*/ 475430 w 1138598"/>
              <a:gd name="connsiteY208" fmla="*/ 467438 h 467438"/>
              <a:gd name="connsiteX209" fmla="*/ 464415 w 1138598"/>
              <a:gd name="connsiteY209" fmla="*/ 467438 h 467438"/>
              <a:gd name="connsiteX210" fmla="*/ 464414 w 1138598"/>
              <a:gd name="connsiteY210" fmla="*/ 467438 h 467438"/>
              <a:gd name="connsiteX211" fmla="*/ 458368 w 1138598"/>
              <a:gd name="connsiteY211" fmla="*/ 467438 h 467438"/>
              <a:gd name="connsiteX212" fmla="*/ 458367 w 1138598"/>
              <a:gd name="connsiteY212" fmla="*/ 467438 h 467438"/>
              <a:gd name="connsiteX213" fmla="*/ 437903 w 1138598"/>
              <a:gd name="connsiteY213" fmla="*/ 467438 h 467438"/>
              <a:gd name="connsiteX214" fmla="*/ 437900 w 1138598"/>
              <a:gd name="connsiteY214" fmla="*/ 467438 h 467438"/>
              <a:gd name="connsiteX215" fmla="*/ 420849 w 1138598"/>
              <a:gd name="connsiteY215" fmla="*/ 467438 h 467438"/>
              <a:gd name="connsiteX216" fmla="*/ 420847 w 1138598"/>
              <a:gd name="connsiteY216" fmla="*/ 467438 h 467438"/>
              <a:gd name="connsiteX217" fmla="*/ 420838 w 1138598"/>
              <a:gd name="connsiteY217" fmla="*/ 467438 h 467438"/>
              <a:gd name="connsiteX218" fmla="*/ 420837 w 1138598"/>
              <a:gd name="connsiteY218" fmla="*/ 467438 h 467438"/>
              <a:gd name="connsiteX219" fmla="*/ 414802 w 1138598"/>
              <a:gd name="connsiteY219" fmla="*/ 467438 h 467438"/>
              <a:gd name="connsiteX220" fmla="*/ 414800 w 1138598"/>
              <a:gd name="connsiteY220" fmla="*/ 467438 h 467438"/>
              <a:gd name="connsiteX221" fmla="*/ 233720 w 1138598"/>
              <a:gd name="connsiteY221" fmla="*/ 467437 h 467438"/>
              <a:gd name="connsiteX222" fmla="*/ 4748 w 1138598"/>
              <a:gd name="connsiteY222" fmla="*/ 280821 h 467438"/>
              <a:gd name="connsiteX223" fmla="*/ 0 w 1138598"/>
              <a:gd name="connsiteY223" fmla="*/ 233720 h 467438"/>
              <a:gd name="connsiteX224" fmla="*/ 4748 w 1138598"/>
              <a:gd name="connsiteY224" fmla="*/ 186617 h 467438"/>
              <a:gd name="connsiteX225" fmla="*/ 233720 w 1138598"/>
              <a:gd name="connsiteY225" fmla="*/ 0 h 4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</a:cxnLst>
            <a:rect l="l" t="t" r="r" b="b"/>
            <a:pathLst>
              <a:path w="1138598" h="467438">
                <a:moveTo>
                  <a:pt x="233720" y="0"/>
                </a:moveTo>
                <a:lnTo>
                  <a:pt x="239757" y="0"/>
                </a:lnTo>
                <a:lnTo>
                  <a:pt x="239767" y="0"/>
                </a:lnTo>
                <a:lnTo>
                  <a:pt x="255044" y="0"/>
                </a:lnTo>
                <a:lnTo>
                  <a:pt x="256820" y="0"/>
                </a:lnTo>
                <a:lnTo>
                  <a:pt x="277287" y="0"/>
                </a:lnTo>
                <a:lnTo>
                  <a:pt x="283334" y="0"/>
                </a:lnTo>
                <a:lnTo>
                  <a:pt x="294350" y="0"/>
                </a:lnTo>
                <a:lnTo>
                  <a:pt x="298611" y="0"/>
                </a:lnTo>
                <a:lnTo>
                  <a:pt x="300388" y="0"/>
                </a:lnTo>
                <a:lnTo>
                  <a:pt x="300397" y="0"/>
                </a:lnTo>
                <a:lnTo>
                  <a:pt x="315674" y="0"/>
                </a:lnTo>
                <a:lnTo>
                  <a:pt x="331568" y="0"/>
                </a:lnTo>
                <a:lnTo>
                  <a:pt x="337918" y="0"/>
                </a:lnTo>
                <a:lnTo>
                  <a:pt x="343965" y="0"/>
                </a:lnTo>
                <a:lnTo>
                  <a:pt x="355947" y="0"/>
                </a:lnTo>
                <a:lnTo>
                  <a:pt x="359242" y="0"/>
                </a:lnTo>
                <a:lnTo>
                  <a:pt x="361994" y="0"/>
                </a:lnTo>
                <a:lnTo>
                  <a:pt x="375135" y="0"/>
                </a:lnTo>
                <a:lnTo>
                  <a:pt x="377271" y="0"/>
                </a:lnTo>
                <a:lnTo>
                  <a:pt x="392199" y="0"/>
                </a:lnTo>
                <a:lnTo>
                  <a:pt x="399514" y="0"/>
                </a:lnTo>
                <a:lnTo>
                  <a:pt x="399524" y="0"/>
                </a:lnTo>
                <a:lnTo>
                  <a:pt x="405561" y="0"/>
                </a:lnTo>
                <a:lnTo>
                  <a:pt x="414801" y="0"/>
                </a:lnTo>
                <a:lnTo>
                  <a:pt x="416577" y="0"/>
                </a:lnTo>
                <a:lnTo>
                  <a:pt x="420838" y="0"/>
                </a:lnTo>
                <a:lnTo>
                  <a:pt x="420848" y="0"/>
                </a:lnTo>
                <a:lnTo>
                  <a:pt x="422625" y="0"/>
                </a:lnTo>
                <a:lnTo>
                  <a:pt x="435767" y="0"/>
                </a:lnTo>
                <a:lnTo>
                  <a:pt x="437901" y="0"/>
                </a:lnTo>
                <a:lnTo>
                  <a:pt x="443091" y="0"/>
                </a:lnTo>
                <a:lnTo>
                  <a:pt x="453796" y="0"/>
                </a:lnTo>
                <a:lnTo>
                  <a:pt x="458368" y="0"/>
                </a:lnTo>
                <a:lnTo>
                  <a:pt x="460145" y="0"/>
                </a:lnTo>
                <a:lnTo>
                  <a:pt x="460154" y="0"/>
                </a:lnTo>
                <a:lnTo>
                  <a:pt x="464415" y="0"/>
                </a:lnTo>
                <a:lnTo>
                  <a:pt x="466193" y="0"/>
                </a:lnTo>
                <a:lnTo>
                  <a:pt x="475431" y="0"/>
                </a:lnTo>
                <a:lnTo>
                  <a:pt x="481469" y="0"/>
                </a:lnTo>
                <a:lnTo>
                  <a:pt x="481478" y="0"/>
                </a:lnTo>
                <a:lnTo>
                  <a:pt x="491325" y="0"/>
                </a:lnTo>
                <a:lnTo>
                  <a:pt x="497363" y="0"/>
                </a:lnTo>
                <a:lnTo>
                  <a:pt x="497373" y="0"/>
                </a:lnTo>
                <a:lnTo>
                  <a:pt x="503722" y="0"/>
                </a:lnTo>
                <a:lnTo>
                  <a:pt x="512649" y="0"/>
                </a:lnTo>
                <a:lnTo>
                  <a:pt x="514426" y="0"/>
                </a:lnTo>
                <a:lnTo>
                  <a:pt x="518999" y="0"/>
                </a:lnTo>
                <a:lnTo>
                  <a:pt x="521751" y="0"/>
                </a:lnTo>
                <a:lnTo>
                  <a:pt x="525046" y="0"/>
                </a:lnTo>
                <a:lnTo>
                  <a:pt x="534892" y="0"/>
                </a:lnTo>
                <a:lnTo>
                  <a:pt x="537028" y="0"/>
                </a:lnTo>
                <a:lnTo>
                  <a:pt x="540940" y="0"/>
                </a:lnTo>
                <a:lnTo>
                  <a:pt x="543075" y="0"/>
                </a:lnTo>
                <a:lnTo>
                  <a:pt x="551956" y="0"/>
                </a:lnTo>
                <a:lnTo>
                  <a:pt x="556217" y="0"/>
                </a:lnTo>
                <a:lnTo>
                  <a:pt x="557994" y="0"/>
                </a:lnTo>
                <a:lnTo>
                  <a:pt x="558003" y="0"/>
                </a:lnTo>
                <a:lnTo>
                  <a:pt x="565318" y="0"/>
                </a:lnTo>
                <a:lnTo>
                  <a:pt x="573280" y="0"/>
                </a:lnTo>
                <a:lnTo>
                  <a:pt x="580595" y="0"/>
                </a:lnTo>
                <a:lnTo>
                  <a:pt x="580605" y="0"/>
                </a:lnTo>
                <a:lnTo>
                  <a:pt x="582382" y="0"/>
                </a:lnTo>
                <a:lnTo>
                  <a:pt x="586642" y="0"/>
                </a:lnTo>
                <a:lnTo>
                  <a:pt x="595524" y="0"/>
                </a:lnTo>
                <a:lnTo>
                  <a:pt x="597658" y="0"/>
                </a:lnTo>
                <a:lnTo>
                  <a:pt x="601571" y="0"/>
                </a:lnTo>
                <a:lnTo>
                  <a:pt x="603706" y="0"/>
                </a:lnTo>
                <a:lnTo>
                  <a:pt x="613553" y="0"/>
                </a:lnTo>
                <a:lnTo>
                  <a:pt x="616848" y="0"/>
                </a:lnTo>
                <a:lnTo>
                  <a:pt x="619600" y="0"/>
                </a:lnTo>
                <a:lnTo>
                  <a:pt x="624172" y="0"/>
                </a:lnTo>
                <a:lnTo>
                  <a:pt x="625950" y="0"/>
                </a:lnTo>
                <a:lnTo>
                  <a:pt x="634877" y="0"/>
                </a:lnTo>
                <a:lnTo>
                  <a:pt x="641226" y="0"/>
                </a:lnTo>
                <a:lnTo>
                  <a:pt x="641235" y="0"/>
                </a:lnTo>
                <a:lnTo>
                  <a:pt x="647274" y="0"/>
                </a:lnTo>
                <a:lnTo>
                  <a:pt x="657120" y="0"/>
                </a:lnTo>
                <a:lnTo>
                  <a:pt x="657130" y="0"/>
                </a:lnTo>
                <a:lnTo>
                  <a:pt x="663167" y="0"/>
                </a:lnTo>
                <a:lnTo>
                  <a:pt x="672406" y="0"/>
                </a:lnTo>
                <a:lnTo>
                  <a:pt x="674183" y="0"/>
                </a:lnTo>
                <a:lnTo>
                  <a:pt x="678444" y="0"/>
                </a:lnTo>
                <a:lnTo>
                  <a:pt x="678454" y="0"/>
                </a:lnTo>
                <a:lnTo>
                  <a:pt x="680230" y="0"/>
                </a:lnTo>
                <a:lnTo>
                  <a:pt x="684803" y="0"/>
                </a:lnTo>
                <a:lnTo>
                  <a:pt x="695507" y="0"/>
                </a:lnTo>
                <a:lnTo>
                  <a:pt x="700697" y="0"/>
                </a:lnTo>
                <a:lnTo>
                  <a:pt x="702832" y="0"/>
                </a:lnTo>
                <a:lnTo>
                  <a:pt x="715974" y="0"/>
                </a:lnTo>
                <a:lnTo>
                  <a:pt x="717751" y="0"/>
                </a:lnTo>
                <a:lnTo>
                  <a:pt x="717760" y="0"/>
                </a:lnTo>
                <a:lnTo>
                  <a:pt x="722021" y="0"/>
                </a:lnTo>
                <a:lnTo>
                  <a:pt x="723798" y="0"/>
                </a:lnTo>
                <a:lnTo>
                  <a:pt x="733037" y="0"/>
                </a:lnTo>
                <a:lnTo>
                  <a:pt x="739075" y="0"/>
                </a:lnTo>
                <a:lnTo>
                  <a:pt x="739084" y="0"/>
                </a:lnTo>
                <a:lnTo>
                  <a:pt x="746399" y="0"/>
                </a:lnTo>
                <a:lnTo>
                  <a:pt x="761328" y="0"/>
                </a:lnTo>
                <a:lnTo>
                  <a:pt x="763463" y="0"/>
                </a:lnTo>
                <a:lnTo>
                  <a:pt x="776605" y="0"/>
                </a:lnTo>
                <a:lnTo>
                  <a:pt x="779357" y="0"/>
                </a:lnTo>
                <a:lnTo>
                  <a:pt x="782652" y="0"/>
                </a:lnTo>
                <a:lnTo>
                  <a:pt x="794634" y="0"/>
                </a:lnTo>
                <a:lnTo>
                  <a:pt x="800681" y="0"/>
                </a:lnTo>
                <a:lnTo>
                  <a:pt x="807031" y="0"/>
                </a:lnTo>
                <a:lnTo>
                  <a:pt x="822924" y="0"/>
                </a:lnTo>
                <a:lnTo>
                  <a:pt x="838201" y="0"/>
                </a:lnTo>
                <a:lnTo>
                  <a:pt x="838211" y="0"/>
                </a:lnTo>
                <a:lnTo>
                  <a:pt x="839987" y="0"/>
                </a:lnTo>
                <a:lnTo>
                  <a:pt x="844248" y="0"/>
                </a:lnTo>
                <a:lnTo>
                  <a:pt x="855264" y="0"/>
                </a:lnTo>
                <a:lnTo>
                  <a:pt x="861311" y="0"/>
                </a:lnTo>
                <a:lnTo>
                  <a:pt x="881778" y="0"/>
                </a:lnTo>
                <a:lnTo>
                  <a:pt x="883555" y="0"/>
                </a:lnTo>
                <a:lnTo>
                  <a:pt x="898832" y="0"/>
                </a:lnTo>
                <a:lnTo>
                  <a:pt x="898841" y="0"/>
                </a:lnTo>
                <a:lnTo>
                  <a:pt x="904879" y="0"/>
                </a:lnTo>
                <a:cubicBezTo>
                  <a:pt x="1033959" y="0"/>
                  <a:pt x="1138598" y="104640"/>
                  <a:pt x="1138598" y="233720"/>
                </a:cubicBezTo>
                <a:lnTo>
                  <a:pt x="1138597" y="233720"/>
                </a:lnTo>
                <a:cubicBezTo>
                  <a:pt x="1138597" y="362799"/>
                  <a:pt x="1033958" y="467438"/>
                  <a:pt x="904879" y="467438"/>
                </a:cubicBezTo>
                <a:lnTo>
                  <a:pt x="898843" y="467438"/>
                </a:lnTo>
                <a:lnTo>
                  <a:pt x="898840" y="467438"/>
                </a:lnTo>
                <a:lnTo>
                  <a:pt x="898831" y="467438"/>
                </a:lnTo>
                <a:lnTo>
                  <a:pt x="881778" y="467438"/>
                </a:lnTo>
                <a:lnTo>
                  <a:pt x="881777" y="467438"/>
                </a:lnTo>
                <a:lnTo>
                  <a:pt x="861313" y="467438"/>
                </a:lnTo>
                <a:lnTo>
                  <a:pt x="861311" y="467438"/>
                </a:lnTo>
                <a:lnTo>
                  <a:pt x="855266" y="467438"/>
                </a:lnTo>
                <a:lnTo>
                  <a:pt x="855263" y="467438"/>
                </a:lnTo>
                <a:lnTo>
                  <a:pt x="844248" y="467438"/>
                </a:lnTo>
                <a:lnTo>
                  <a:pt x="844247" y="467438"/>
                </a:lnTo>
                <a:lnTo>
                  <a:pt x="838212" y="467438"/>
                </a:lnTo>
                <a:lnTo>
                  <a:pt x="838210" y="467438"/>
                </a:lnTo>
                <a:lnTo>
                  <a:pt x="838201" y="467438"/>
                </a:lnTo>
                <a:lnTo>
                  <a:pt x="838200" y="467438"/>
                </a:lnTo>
                <a:lnTo>
                  <a:pt x="807030" y="467438"/>
                </a:lnTo>
                <a:lnTo>
                  <a:pt x="800683" y="467438"/>
                </a:lnTo>
                <a:lnTo>
                  <a:pt x="800680" y="467438"/>
                </a:lnTo>
                <a:lnTo>
                  <a:pt x="794635" y="467438"/>
                </a:lnTo>
                <a:lnTo>
                  <a:pt x="794633" y="467438"/>
                </a:lnTo>
                <a:lnTo>
                  <a:pt x="782652" y="467438"/>
                </a:lnTo>
                <a:lnTo>
                  <a:pt x="782651" y="467438"/>
                </a:lnTo>
                <a:lnTo>
                  <a:pt x="776605" y="467438"/>
                </a:lnTo>
                <a:lnTo>
                  <a:pt x="776604" y="467438"/>
                </a:lnTo>
                <a:lnTo>
                  <a:pt x="763464" y="467438"/>
                </a:lnTo>
                <a:lnTo>
                  <a:pt x="763462" y="467438"/>
                </a:lnTo>
                <a:lnTo>
                  <a:pt x="746399" y="467438"/>
                </a:lnTo>
                <a:lnTo>
                  <a:pt x="746399" y="467438"/>
                </a:lnTo>
                <a:lnTo>
                  <a:pt x="739086" y="467438"/>
                </a:lnTo>
                <a:lnTo>
                  <a:pt x="739083" y="467438"/>
                </a:lnTo>
                <a:lnTo>
                  <a:pt x="739074" y="467438"/>
                </a:lnTo>
                <a:lnTo>
                  <a:pt x="733038" y="467438"/>
                </a:lnTo>
                <a:lnTo>
                  <a:pt x="733036" y="467438"/>
                </a:lnTo>
                <a:lnTo>
                  <a:pt x="722021" y="467438"/>
                </a:lnTo>
                <a:lnTo>
                  <a:pt x="722020" y="467438"/>
                </a:lnTo>
                <a:lnTo>
                  <a:pt x="715974" y="467438"/>
                </a:lnTo>
                <a:lnTo>
                  <a:pt x="715973" y="467438"/>
                </a:lnTo>
                <a:lnTo>
                  <a:pt x="702834" y="467438"/>
                </a:lnTo>
                <a:lnTo>
                  <a:pt x="702832" y="467438"/>
                </a:lnTo>
                <a:lnTo>
                  <a:pt x="695509" y="467438"/>
                </a:lnTo>
                <a:lnTo>
                  <a:pt x="695506" y="467438"/>
                </a:lnTo>
                <a:lnTo>
                  <a:pt x="684803" y="467438"/>
                </a:lnTo>
                <a:lnTo>
                  <a:pt x="684803" y="467438"/>
                </a:lnTo>
                <a:lnTo>
                  <a:pt x="678455" y="467438"/>
                </a:lnTo>
                <a:lnTo>
                  <a:pt x="678453" y="467438"/>
                </a:lnTo>
                <a:lnTo>
                  <a:pt x="678444" y="467438"/>
                </a:lnTo>
                <a:lnTo>
                  <a:pt x="678443" y="467438"/>
                </a:lnTo>
                <a:lnTo>
                  <a:pt x="672407" y="467438"/>
                </a:lnTo>
                <a:lnTo>
                  <a:pt x="672406" y="467438"/>
                </a:lnTo>
                <a:lnTo>
                  <a:pt x="647273" y="467438"/>
                </a:lnTo>
                <a:lnTo>
                  <a:pt x="641237" y="467438"/>
                </a:lnTo>
                <a:lnTo>
                  <a:pt x="641235" y="467438"/>
                </a:lnTo>
                <a:lnTo>
                  <a:pt x="641225" y="467438"/>
                </a:lnTo>
                <a:lnTo>
                  <a:pt x="634878" y="467438"/>
                </a:lnTo>
                <a:lnTo>
                  <a:pt x="634876" y="467438"/>
                </a:lnTo>
                <a:lnTo>
                  <a:pt x="624172" y="467438"/>
                </a:lnTo>
                <a:lnTo>
                  <a:pt x="624171" y="467438"/>
                </a:lnTo>
                <a:lnTo>
                  <a:pt x="616848" y="467438"/>
                </a:lnTo>
                <a:lnTo>
                  <a:pt x="616847" y="467438"/>
                </a:lnTo>
                <a:lnTo>
                  <a:pt x="603707" y="467438"/>
                </a:lnTo>
                <a:lnTo>
                  <a:pt x="603705" y="467438"/>
                </a:lnTo>
                <a:lnTo>
                  <a:pt x="597660" y="467438"/>
                </a:lnTo>
                <a:lnTo>
                  <a:pt x="597657" y="467438"/>
                </a:lnTo>
                <a:lnTo>
                  <a:pt x="586642" y="467438"/>
                </a:lnTo>
                <a:lnTo>
                  <a:pt x="586642" y="467438"/>
                </a:lnTo>
                <a:lnTo>
                  <a:pt x="580606" y="467438"/>
                </a:lnTo>
                <a:lnTo>
                  <a:pt x="580604" y="467438"/>
                </a:lnTo>
                <a:lnTo>
                  <a:pt x="580595" y="467438"/>
                </a:lnTo>
                <a:lnTo>
                  <a:pt x="580594" y="467438"/>
                </a:lnTo>
                <a:lnTo>
                  <a:pt x="573281" y="467438"/>
                </a:lnTo>
                <a:lnTo>
                  <a:pt x="573279" y="467438"/>
                </a:lnTo>
                <a:lnTo>
                  <a:pt x="556217" y="467438"/>
                </a:lnTo>
                <a:lnTo>
                  <a:pt x="556216" y="467438"/>
                </a:lnTo>
                <a:lnTo>
                  <a:pt x="543077" y="467438"/>
                </a:lnTo>
                <a:lnTo>
                  <a:pt x="543075" y="467438"/>
                </a:lnTo>
                <a:lnTo>
                  <a:pt x="537030" y="467438"/>
                </a:lnTo>
                <a:lnTo>
                  <a:pt x="537027" y="467438"/>
                </a:lnTo>
                <a:lnTo>
                  <a:pt x="525046" y="467438"/>
                </a:lnTo>
                <a:lnTo>
                  <a:pt x="525046" y="467438"/>
                </a:lnTo>
                <a:lnTo>
                  <a:pt x="518999" y="467438"/>
                </a:lnTo>
                <a:lnTo>
                  <a:pt x="518998" y="467438"/>
                </a:lnTo>
                <a:lnTo>
                  <a:pt x="512650" y="467438"/>
                </a:lnTo>
                <a:lnTo>
                  <a:pt x="512649" y="467438"/>
                </a:lnTo>
                <a:lnTo>
                  <a:pt x="481480" y="467438"/>
                </a:lnTo>
                <a:lnTo>
                  <a:pt x="481478" y="467438"/>
                </a:lnTo>
                <a:lnTo>
                  <a:pt x="481468" y="467438"/>
                </a:lnTo>
                <a:lnTo>
                  <a:pt x="475433" y="467438"/>
                </a:lnTo>
                <a:lnTo>
                  <a:pt x="475430" y="467438"/>
                </a:lnTo>
                <a:lnTo>
                  <a:pt x="464415" y="467438"/>
                </a:lnTo>
                <a:lnTo>
                  <a:pt x="464414" y="467438"/>
                </a:lnTo>
                <a:lnTo>
                  <a:pt x="458368" y="467438"/>
                </a:lnTo>
                <a:lnTo>
                  <a:pt x="458367" y="467438"/>
                </a:lnTo>
                <a:lnTo>
                  <a:pt x="437903" y="467438"/>
                </a:lnTo>
                <a:lnTo>
                  <a:pt x="437900" y="467438"/>
                </a:lnTo>
                <a:lnTo>
                  <a:pt x="420849" y="467438"/>
                </a:lnTo>
                <a:lnTo>
                  <a:pt x="420847" y="467438"/>
                </a:lnTo>
                <a:lnTo>
                  <a:pt x="420838" y="467438"/>
                </a:lnTo>
                <a:lnTo>
                  <a:pt x="420837" y="467438"/>
                </a:lnTo>
                <a:lnTo>
                  <a:pt x="414802" y="467438"/>
                </a:lnTo>
                <a:lnTo>
                  <a:pt x="414800" y="467438"/>
                </a:lnTo>
                <a:lnTo>
                  <a:pt x="233720" y="467437"/>
                </a:lnTo>
                <a:cubicBezTo>
                  <a:pt x="120774" y="467437"/>
                  <a:pt x="26542" y="387323"/>
                  <a:pt x="4748" y="280821"/>
                </a:cubicBezTo>
                <a:lnTo>
                  <a:pt x="0" y="233720"/>
                </a:lnTo>
                <a:lnTo>
                  <a:pt x="4748" y="186617"/>
                </a:lnTo>
                <a:cubicBezTo>
                  <a:pt x="26542" y="80115"/>
                  <a:pt x="120774" y="0"/>
                  <a:pt x="233720" y="0"/>
                </a:cubicBezTo>
                <a:close/>
              </a:path>
            </a:pathLst>
          </a:custGeom>
          <a:noFill/>
          <a:ln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5" name="Полилиния 54"/>
          <p:cNvSpPr/>
          <p:nvPr/>
        </p:nvSpPr>
        <p:spPr>
          <a:xfrm>
            <a:off x="7366126" y="2959644"/>
            <a:ext cx="1376735" cy="388075"/>
          </a:xfrm>
          <a:custGeom>
            <a:avLst/>
            <a:gdLst>
              <a:gd name="connsiteX0" fmla="*/ 233720 w 1636453"/>
              <a:gd name="connsiteY0" fmla="*/ 0 h 467438"/>
              <a:gd name="connsiteX1" fmla="*/ 233973 w 1636453"/>
              <a:gd name="connsiteY1" fmla="*/ 0 h 467438"/>
              <a:gd name="connsiteX2" fmla="*/ 235750 w 1636453"/>
              <a:gd name="connsiteY2" fmla="*/ 0 h 467438"/>
              <a:gd name="connsiteX3" fmla="*/ 235759 w 1636453"/>
              <a:gd name="connsiteY3" fmla="*/ 0 h 467438"/>
              <a:gd name="connsiteX4" fmla="*/ 239757 w 1636453"/>
              <a:gd name="connsiteY4" fmla="*/ 0 h 467438"/>
              <a:gd name="connsiteX5" fmla="*/ 239767 w 1636453"/>
              <a:gd name="connsiteY5" fmla="*/ 0 h 467438"/>
              <a:gd name="connsiteX6" fmla="*/ 251036 w 1636453"/>
              <a:gd name="connsiteY6" fmla="*/ 0 h 467438"/>
              <a:gd name="connsiteX7" fmla="*/ 255044 w 1636453"/>
              <a:gd name="connsiteY7" fmla="*/ 0 h 467438"/>
              <a:gd name="connsiteX8" fmla="*/ 256820 w 1636453"/>
              <a:gd name="connsiteY8" fmla="*/ 0 h 467438"/>
              <a:gd name="connsiteX9" fmla="*/ 266930 w 1636453"/>
              <a:gd name="connsiteY9" fmla="*/ 0 h 467438"/>
              <a:gd name="connsiteX10" fmla="*/ 273280 w 1636453"/>
              <a:gd name="connsiteY10" fmla="*/ 0 h 467438"/>
              <a:gd name="connsiteX11" fmla="*/ 277287 w 1636453"/>
              <a:gd name="connsiteY11" fmla="*/ 0 h 467438"/>
              <a:gd name="connsiteX12" fmla="*/ 279327 w 1636453"/>
              <a:gd name="connsiteY12" fmla="*/ 0 h 467438"/>
              <a:gd name="connsiteX13" fmla="*/ 283334 w 1636453"/>
              <a:gd name="connsiteY13" fmla="*/ 0 h 467438"/>
              <a:gd name="connsiteX14" fmla="*/ 291309 w 1636453"/>
              <a:gd name="connsiteY14" fmla="*/ 0 h 467438"/>
              <a:gd name="connsiteX15" fmla="*/ 294350 w 1636453"/>
              <a:gd name="connsiteY15" fmla="*/ 0 h 467438"/>
              <a:gd name="connsiteX16" fmla="*/ 294604 w 1636453"/>
              <a:gd name="connsiteY16" fmla="*/ 0 h 467438"/>
              <a:gd name="connsiteX17" fmla="*/ 297356 w 1636453"/>
              <a:gd name="connsiteY17" fmla="*/ 0 h 467438"/>
              <a:gd name="connsiteX18" fmla="*/ 298611 w 1636453"/>
              <a:gd name="connsiteY18" fmla="*/ 0 h 467438"/>
              <a:gd name="connsiteX19" fmla="*/ 300388 w 1636453"/>
              <a:gd name="connsiteY19" fmla="*/ 0 h 467438"/>
              <a:gd name="connsiteX20" fmla="*/ 300397 w 1636453"/>
              <a:gd name="connsiteY20" fmla="*/ 0 h 467438"/>
              <a:gd name="connsiteX21" fmla="*/ 310497 w 1636453"/>
              <a:gd name="connsiteY21" fmla="*/ 0 h 467438"/>
              <a:gd name="connsiteX22" fmla="*/ 312633 w 1636453"/>
              <a:gd name="connsiteY22" fmla="*/ 0 h 467438"/>
              <a:gd name="connsiteX23" fmla="*/ 315674 w 1636453"/>
              <a:gd name="connsiteY23" fmla="*/ 0 h 467438"/>
              <a:gd name="connsiteX24" fmla="*/ 327561 w 1636453"/>
              <a:gd name="connsiteY24" fmla="*/ 0 h 467438"/>
              <a:gd name="connsiteX25" fmla="*/ 331568 w 1636453"/>
              <a:gd name="connsiteY25" fmla="*/ 0 h 467438"/>
              <a:gd name="connsiteX26" fmla="*/ 334876 w 1636453"/>
              <a:gd name="connsiteY26" fmla="*/ 0 h 467438"/>
              <a:gd name="connsiteX27" fmla="*/ 334886 w 1636453"/>
              <a:gd name="connsiteY27" fmla="*/ 0 h 467438"/>
              <a:gd name="connsiteX28" fmla="*/ 337918 w 1636453"/>
              <a:gd name="connsiteY28" fmla="*/ 0 h 467438"/>
              <a:gd name="connsiteX29" fmla="*/ 340923 w 1636453"/>
              <a:gd name="connsiteY29" fmla="*/ 0 h 467438"/>
              <a:gd name="connsiteX30" fmla="*/ 343965 w 1636453"/>
              <a:gd name="connsiteY30" fmla="*/ 0 h 467438"/>
              <a:gd name="connsiteX31" fmla="*/ 350163 w 1636453"/>
              <a:gd name="connsiteY31" fmla="*/ 0 h 467438"/>
              <a:gd name="connsiteX32" fmla="*/ 351939 w 1636453"/>
              <a:gd name="connsiteY32" fmla="*/ 0 h 467438"/>
              <a:gd name="connsiteX33" fmla="*/ 355947 w 1636453"/>
              <a:gd name="connsiteY33" fmla="*/ 0 h 467438"/>
              <a:gd name="connsiteX34" fmla="*/ 356200 w 1636453"/>
              <a:gd name="connsiteY34" fmla="*/ 0 h 467438"/>
              <a:gd name="connsiteX35" fmla="*/ 356210 w 1636453"/>
              <a:gd name="connsiteY35" fmla="*/ 0 h 467438"/>
              <a:gd name="connsiteX36" fmla="*/ 357987 w 1636453"/>
              <a:gd name="connsiteY36" fmla="*/ 0 h 467438"/>
              <a:gd name="connsiteX37" fmla="*/ 359242 w 1636453"/>
              <a:gd name="connsiteY37" fmla="*/ 0 h 467438"/>
              <a:gd name="connsiteX38" fmla="*/ 361994 w 1636453"/>
              <a:gd name="connsiteY38" fmla="*/ 0 h 467438"/>
              <a:gd name="connsiteX39" fmla="*/ 371129 w 1636453"/>
              <a:gd name="connsiteY39" fmla="*/ 0 h 467438"/>
              <a:gd name="connsiteX40" fmla="*/ 373263 w 1636453"/>
              <a:gd name="connsiteY40" fmla="*/ 0 h 467438"/>
              <a:gd name="connsiteX41" fmla="*/ 375135 w 1636453"/>
              <a:gd name="connsiteY41" fmla="*/ 0 h 467438"/>
              <a:gd name="connsiteX42" fmla="*/ 377271 w 1636453"/>
              <a:gd name="connsiteY42" fmla="*/ 0 h 467438"/>
              <a:gd name="connsiteX43" fmla="*/ 378453 w 1636453"/>
              <a:gd name="connsiteY43" fmla="*/ 0 h 467438"/>
              <a:gd name="connsiteX44" fmla="*/ 389158 w 1636453"/>
              <a:gd name="connsiteY44" fmla="*/ 0 h 467438"/>
              <a:gd name="connsiteX45" fmla="*/ 392199 w 1636453"/>
              <a:gd name="connsiteY45" fmla="*/ 0 h 467438"/>
              <a:gd name="connsiteX46" fmla="*/ 393730 w 1636453"/>
              <a:gd name="connsiteY46" fmla="*/ 0 h 467438"/>
              <a:gd name="connsiteX47" fmla="*/ 395507 w 1636453"/>
              <a:gd name="connsiteY47" fmla="*/ 0 h 467438"/>
              <a:gd name="connsiteX48" fmla="*/ 395516 w 1636453"/>
              <a:gd name="connsiteY48" fmla="*/ 0 h 467438"/>
              <a:gd name="connsiteX49" fmla="*/ 399514 w 1636453"/>
              <a:gd name="connsiteY49" fmla="*/ 0 h 467438"/>
              <a:gd name="connsiteX50" fmla="*/ 399524 w 1636453"/>
              <a:gd name="connsiteY50" fmla="*/ 0 h 467438"/>
              <a:gd name="connsiteX51" fmla="*/ 399777 w 1636453"/>
              <a:gd name="connsiteY51" fmla="*/ 0 h 467438"/>
              <a:gd name="connsiteX52" fmla="*/ 401555 w 1636453"/>
              <a:gd name="connsiteY52" fmla="*/ 0 h 467438"/>
              <a:gd name="connsiteX53" fmla="*/ 405561 w 1636453"/>
              <a:gd name="connsiteY53" fmla="*/ 0 h 467438"/>
              <a:gd name="connsiteX54" fmla="*/ 410793 w 1636453"/>
              <a:gd name="connsiteY54" fmla="*/ 0 h 467438"/>
              <a:gd name="connsiteX55" fmla="*/ 414801 w 1636453"/>
              <a:gd name="connsiteY55" fmla="*/ 0 h 467438"/>
              <a:gd name="connsiteX56" fmla="*/ 416577 w 1636453"/>
              <a:gd name="connsiteY56" fmla="*/ 0 h 467438"/>
              <a:gd name="connsiteX57" fmla="*/ 416831 w 1636453"/>
              <a:gd name="connsiteY57" fmla="*/ 0 h 467438"/>
              <a:gd name="connsiteX58" fmla="*/ 416840 w 1636453"/>
              <a:gd name="connsiteY58" fmla="*/ 0 h 467438"/>
              <a:gd name="connsiteX59" fmla="*/ 420838 w 1636453"/>
              <a:gd name="connsiteY59" fmla="*/ 0 h 467438"/>
              <a:gd name="connsiteX60" fmla="*/ 420848 w 1636453"/>
              <a:gd name="connsiteY60" fmla="*/ 0 h 467438"/>
              <a:gd name="connsiteX61" fmla="*/ 422625 w 1636453"/>
              <a:gd name="connsiteY61" fmla="*/ 0 h 467438"/>
              <a:gd name="connsiteX62" fmla="*/ 426687 w 1636453"/>
              <a:gd name="connsiteY62" fmla="*/ 0 h 467438"/>
              <a:gd name="connsiteX63" fmla="*/ 432725 w 1636453"/>
              <a:gd name="connsiteY63" fmla="*/ 0 h 467438"/>
              <a:gd name="connsiteX64" fmla="*/ 432735 w 1636453"/>
              <a:gd name="connsiteY64" fmla="*/ 0 h 467438"/>
              <a:gd name="connsiteX65" fmla="*/ 435767 w 1636453"/>
              <a:gd name="connsiteY65" fmla="*/ 0 h 467438"/>
              <a:gd name="connsiteX66" fmla="*/ 437901 w 1636453"/>
              <a:gd name="connsiteY66" fmla="*/ 0 h 467438"/>
              <a:gd name="connsiteX67" fmla="*/ 439084 w 1636453"/>
              <a:gd name="connsiteY67" fmla="*/ 0 h 467438"/>
              <a:gd name="connsiteX68" fmla="*/ 443091 w 1636453"/>
              <a:gd name="connsiteY68" fmla="*/ 0 h 467438"/>
              <a:gd name="connsiteX69" fmla="*/ 448011 w 1636453"/>
              <a:gd name="connsiteY69" fmla="*/ 0 h 467438"/>
              <a:gd name="connsiteX70" fmla="*/ 449788 w 1636453"/>
              <a:gd name="connsiteY70" fmla="*/ 0 h 467438"/>
              <a:gd name="connsiteX71" fmla="*/ 453796 w 1636453"/>
              <a:gd name="connsiteY71" fmla="*/ 0 h 467438"/>
              <a:gd name="connsiteX72" fmla="*/ 454361 w 1636453"/>
              <a:gd name="connsiteY72" fmla="*/ 0 h 467438"/>
              <a:gd name="connsiteX73" fmla="*/ 457113 w 1636453"/>
              <a:gd name="connsiteY73" fmla="*/ 0 h 467438"/>
              <a:gd name="connsiteX74" fmla="*/ 458368 w 1636453"/>
              <a:gd name="connsiteY74" fmla="*/ 0 h 467438"/>
              <a:gd name="connsiteX75" fmla="*/ 460145 w 1636453"/>
              <a:gd name="connsiteY75" fmla="*/ 0 h 467438"/>
              <a:gd name="connsiteX76" fmla="*/ 460154 w 1636453"/>
              <a:gd name="connsiteY76" fmla="*/ 0 h 467438"/>
              <a:gd name="connsiteX77" fmla="*/ 460408 w 1636453"/>
              <a:gd name="connsiteY77" fmla="*/ 0 h 467438"/>
              <a:gd name="connsiteX78" fmla="*/ 464415 w 1636453"/>
              <a:gd name="connsiteY78" fmla="*/ 0 h 467438"/>
              <a:gd name="connsiteX79" fmla="*/ 466193 w 1636453"/>
              <a:gd name="connsiteY79" fmla="*/ 0 h 467438"/>
              <a:gd name="connsiteX80" fmla="*/ 470254 w 1636453"/>
              <a:gd name="connsiteY80" fmla="*/ 0 h 467438"/>
              <a:gd name="connsiteX81" fmla="*/ 472390 w 1636453"/>
              <a:gd name="connsiteY81" fmla="*/ 0 h 467438"/>
              <a:gd name="connsiteX82" fmla="*/ 475431 w 1636453"/>
              <a:gd name="connsiteY82" fmla="*/ 0 h 467438"/>
              <a:gd name="connsiteX83" fmla="*/ 476302 w 1636453"/>
              <a:gd name="connsiteY83" fmla="*/ 0 h 467438"/>
              <a:gd name="connsiteX84" fmla="*/ 478437 w 1636453"/>
              <a:gd name="connsiteY84" fmla="*/ 0 h 467438"/>
              <a:gd name="connsiteX85" fmla="*/ 481469 w 1636453"/>
              <a:gd name="connsiteY85" fmla="*/ 0 h 467438"/>
              <a:gd name="connsiteX86" fmla="*/ 481478 w 1636453"/>
              <a:gd name="connsiteY86" fmla="*/ 0 h 467438"/>
              <a:gd name="connsiteX87" fmla="*/ 487318 w 1636453"/>
              <a:gd name="connsiteY87" fmla="*/ 0 h 467438"/>
              <a:gd name="connsiteX88" fmla="*/ 491325 w 1636453"/>
              <a:gd name="connsiteY88" fmla="*/ 0 h 467438"/>
              <a:gd name="connsiteX89" fmla="*/ 491579 w 1636453"/>
              <a:gd name="connsiteY89" fmla="*/ 0 h 467438"/>
              <a:gd name="connsiteX90" fmla="*/ 493356 w 1636453"/>
              <a:gd name="connsiteY90" fmla="*/ 0 h 467438"/>
              <a:gd name="connsiteX91" fmla="*/ 493365 w 1636453"/>
              <a:gd name="connsiteY91" fmla="*/ 0 h 467438"/>
              <a:gd name="connsiteX92" fmla="*/ 497363 w 1636453"/>
              <a:gd name="connsiteY92" fmla="*/ 0 h 467438"/>
              <a:gd name="connsiteX93" fmla="*/ 497373 w 1636453"/>
              <a:gd name="connsiteY93" fmla="*/ 0 h 467438"/>
              <a:gd name="connsiteX94" fmla="*/ 500680 w 1636453"/>
              <a:gd name="connsiteY94" fmla="*/ 0 h 467438"/>
              <a:gd name="connsiteX95" fmla="*/ 503722 w 1636453"/>
              <a:gd name="connsiteY95" fmla="*/ 0 h 467438"/>
              <a:gd name="connsiteX96" fmla="*/ 508642 w 1636453"/>
              <a:gd name="connsiteY96" fmla="*/ 0 h 467438"/>
              <a:gd name="connsiteX97" fmla="*/ 512649 w 1636453"/>
              <a:gd name="connsiteY97" fmla="*/ 0 h 467438"/>
              <a:gd name="connsiteX98" fmla="*/ 514426 w 1636453"/>
              <a:gd name="connsiteY98" fmla="*/ 0 h 467438"/>
              <a:gd name="connsiteX99" fmla="*/ 515957 w 1636453"/>
              <a:gd name="connsiteY99" fmla="*/ 0 h 467438"/>
              <a:gd name="connsiteX100" fmla="*/ 515967 w 1636453"/>
              <a:gd name="connsiteY100" fmla="*/ 0 h 467438"/>
              <a:gd name="connsiteX101" fmla="*/ 517744 w 1636453"/>
              <a:gd name="connsiteY101" fmla="*/ 0 h 467438"/>
              <a:gd name="connsiteX102" fmla="*/ 518999 w 1636453"/>
              <a:gd name="connsiteY102" fmla="*/ 0 h 467438"/>
              <a:gd name="connsiteX103" fmla="*/ 521751 w 1636453"/>
              <a:gd name="connsiteY103" fmla="*/ 0 h 467438"/>
              <a:gd name="connsiteX104" fmla="*/ 522004 w 1636453"/>
              <a:gd name="connsiteY104" fmla="*/ 0 h 467438"/>
              <a:gd name="connsiteX105" fmla="*/ 525046 w 1636453"/>
              <a:gd name="connsiteY105" fmla="*/ 0 h 467438"/>
              <a:gd name="connsiteX106" fmla="*/ 530886 w 1636453"/>
              <a:gd name="connsiteY106" fmla="*/ 0 h 467438"/>
              <a:gd name="connsiteX107" fmla="*/ 533020 w 1636453"/>
              <a:gd name="connsiteY107" fmla="*/ 0 h 467438"/>
              <a:gd name="connsiteX108" fmla="*/ 534892 w 1636453"/>
              <a:gd name="connsiteY108" fmla="*/ 0 h 467438"/>
              <a:gd name="connsiteX109" fmla="*/ 536933 w 1636453"/>
              <a:gd name="connsiteY109" fmla="*/ 0 h 467438"/>
              <a:gd name="connsiteX110" fmla="*/ 537028 w 1636453"/>
              <a:gd name="connsiteY110" fmla="*/ 0 h 467438"/>
              <a:gd name="connsiteX111" fmla="*/ 539068 w 1636453"/>
              <a:gd name="connsiteY111" fmla="*/ 0 h 467438"/>
              <a:gd name="connsiteX112" fmla="*/ 540940 w 1636453"/>
              <a:gd name="connsiteY112" fmla="*/ 0 h 467438"/>
              <a:gd name="connsiteX113" fmla="*/ 543075 w 1636453"/>
              <a:gd name="connsiteY113" fmla="*/ 0 h 467438"/>
              <a:gd name="connsiteX114" fmla="*/ 548915 w 1636453"/>
              <a:gd name="connsiteY114" fmla="*/ 0 h 467438"/>
              <a:gd name="connsiteX115" fmla="*/ 551956 w 1636453"/>
              <a:gd name="connsiteY115" fmla="*/ 0 h 467438"/>
              <a:gd name="connsiteX116" fmla="*/ 552210 w 1636453"/>
              <a:gd name="connsiteY116" fmla="*/ 0 h 467438"/>
              <a:gd name="connsiteX117" fmla="*/ 554962 w 1636453"/>
              <a:gd name="connsiteY117" fmla="*/ 0 h 467438"/>
              <a:gd name="connsiteX118" fmla="*/ 556217 w 1636453"/>
              <a:gd name="connsiteY118" fmla="*/ 0 h 467438"/>
              <a:gd name="connsiteX119" fmla="*/ 557994 w 1636453"/>
              <a:gd name="connsiteY119" fmla="*/ 0 h 467438"/>
              <a:gd name="connsiteX120" fmla="*/ 558003 w 1636453"/>
              <a:gd name="connsiteY120" fmla="*/ 0 h 467438"/>
              <a:gd name="connsiteX121" fmla="*/ 559534 w 1636453"/>
              <a:gd name="connsiteY121" fmla="*/ 0 h 467438"/>
              <a:gd name="connsiteX122" fmla="*/ 561312 w 1636453"/>
              <a:gd name="connsiteY122" fmla="*/ 0 h 467438"/>
              <a:gd name="connsiteX123" fmla="*/ 565318 w 1636453"/>
              <a:gd name="connsiteY123" fmla="*/ 0 h 467438"/>
              <a:gd name="connsiteX124" fmla="*/ 570239 w 1636453"/>
              <a:gd name="connsiteY124" fmla="*/ 0 h 467438"/>
              <a:gd name="connsiteX125" fmla="*/ 573280 w 1636453"/>
              <a:gd name="connsiteY125" fmla="*/ 0 h 467438"/>
              <a:gd name="connsiteX126" fmla="*/ 576588 w 1636453"/>
              <a:gd name="connsiteY126" fmla="*/ 0 h 467438"/>
              <a:gd name="connsiteX127" fmla="*/ 576597 w 1636453"/>
              <a:gd name="connsiteY127" fmla="*/ 0 h 467438"/>
              <a:gd name="connsiteX128" fmla="*/ 580595 w 1636453"/>
              <a:gd name="connsiteY128" fmla="*/ 0 h 467438"/>
              <a:gd name="connsiteX129" fmla="*/ 580605 w 1636453"/>
              <a:gd name="connsiteY129" fmla="*/ 0 h 467438"/>
              <a:gd name="connsiteX130" fmla="*/ 582382 w 1636453"/>
              <a:gd name="connsiteY130" fmla="*/ 0 h 467438"/>
              <a:gd name="connsiteX131" fmla="*/ 582636 w 1636453"/>
              <a:gd name="connsiteY131" fmla="*/ 0 h 467438"/>
              <a:gd name="connsiteX132" fmla="*/ 586642 w 1636453"/>
              <a:gd name="connsiteY132" fmla="*/ 0 h 467438"/>
              <a:gd name="connsiteX133" fmla="*/ 592482 w 1636453"/>
              <a:gd name="connsiteY133" fmla="*/ 0 h 467438"/>
              <a:gd name="connsiteX134" fmla="*/ 592492 w 1636453"/>
              <a:gd name="connsiteY134" fmla="*/ 0 h 467438"/>
              <a:gd name="connsiteX135" fmla="*/ 595524 w 1636453"/>
              <a:gd name="connsiteY135" fmla="*/ 0 h 467438"/>
              <a:gd name="connsiteX136" fmla="*/ 597658 w 1636453"/>
              <a:gd name="connsiteY136" fmla="*/ 0 h 467438"/>
              <a:gd name="connsiteX137" fmla="*/ 598529 w 1636453"/>
              <a:gd name="connsiteY137" fmla="*/ 0 h 467438"/>
              <a:gd name="connsiteX138" fmla="*/ 601571 w 1636453"/>
              <a:gd name="connsiteY138" fmla="*/ 0 h 467438"/>
              <a:gd name="connsiteX139" fmla="*/ 603706 w 1636453"/>
              <a:gd name="connsiteY139" fmla="*/ 0 h 467438"/>
              <a:gd name="connsiteX140" fmla="*/ 607768 w 1636453"/>
              <a:gd name="connsiteY140" fmla="*/ 0 h 467438"/>
              <a:gd name="connsiteX141" fmla="*/ 609545 w 1636453"/>
              <a:gd name="connsiteY141" fmla="*/ 0 h 467438"/>
              <a:gd name="connsiteX142" fmla="*/ 613553 w 1636453"/>
              <a:gd name="connsiteY142" fmla="*/ 0 h 467438"/>
              <a:gd name="connsiteX143" fmla="*/ 613806 w 1636453"/>
              <a:gd name="connsiteY143" fmla="*/ 0 h 467438"/>
              <a:gd name="connsiteX144" fmla="*/ 613816 w 1636453"/>
              <a:gd name="connsiteY144" fmla="*/ 0 h 467438"/>
              <a:gd name="connsiteX145" fmla="*/ 615592 w 1636453"/>
              <a:gd name="connsiteY145" fmla="*/ 0 h 467438"/>
              <a:gd name="connsiteX146" fmla="*/ 616848 w 1636453"/>
              <a:gd name="connsiteY146" fmla="*/ 0 h 467438"/>
              <a:gd name="connsiteX147" fmla="*/ 619600 w 1636453"/>
              <a:gd name="connsiteY147" fmla="*/ 0 h 467438"/>
              <a:gd name="connsiteX148" fmla="*/ 620165 w 1636453"/>
              <a:gd name="connsiteY148" fmla="*/ 0 h 467438"/>
              <a:gd name="connsiteX149" fmla="*/ 624172 w 1636453"/>
              <a:gd name="connsiteY149" fmla="*/ 0 h 467438"/>
              <a:gd name="connsiteX150" fmla="*/ 625950 w 1636453"/>
              <a:gd name="connsiteY150" fmla="*/ 0 h 467438"/>
              <a:gd name="connsiteX151" fmla="*/ 630869 w 1636453"/>
              <a:gd name="connsiteY151" fmla="*/ 0 h 467438"/>
              <a:gd name="connsiteX152" fmla="*/ 634877 w 1636453"/>
              <a:gd name="connsiteY152" fmla="*/ 0 h 467438"/>
              <a:gd name="connsiteX153" fmla="*/ 636059 w 1636453"/>
              <a:gd name="connsiteY153" fmla="*/ 0 h 467438"/>
              <a:gd name="connsiteX154" fmla="*/ 638194 w 1636453"/>
              <a:gd name="connsiteY154" fmla="*/ 0 h 467438"/>
              <a:gd name="connsiteX155" fmla="*/ 641226 w 1636453"/>
              <a:gd name="connsiteY155" fmla="*/ 0 h 467438"/>
              <a:gd name="connsiteX156" fmla="*/ 641235 w 1636453"/>
              <a:gd name="connsiteY156" fmla="*/ 0 h 467438"/>
              <a:gd name="connsiteX157" fmla="*/ 647274 w 1636453"/>
              <a:gd name="connsiteY157" fmla="*/ 0 h 467438"/>
              <a:gd name="connsiteX158" fmla="*/ 651336 w 1636453"/>
              <a:gd name="connsiteY158" fmla="*/ 0 h 467438"/>
              <a:gd name="connsiteX159" fmla="*/ 653113 w 1636453"/>
              <a:gd name="connsiteY159" fmla="*/ 0 h 467438"/>
              <a:gd name="connsiteX160" fmla="*/ 653122 w 1636453"/>
              <a:gd name="connsiteY160" fmla="*/ 0 h 467438"/>
              <a:gd name="connsiteX161" fmla="*/ 657120 w 1636453"/>
              <a:gd name="connsiteY161" fmla="*/ 0 h 467438"/>
              <a:gd name="connsiteX162" fmla="*/ 657130 w 1636453"/>
              <a:gd name="connsiteY162" fmla="*/ 0 h 467438"/>
              <a:gd name="connsiteX163" fmla="*/ 657383 w 1636453"/>
              <a:gd name="connsiteY163" fmla="*/ 0 h 467438"/>
              <a:gd name="connsiteX164" fmla="*/ 659160 w 1636453"/>
              <a:gd name="connsiteY164" fmla="*/ 0 h 467438"/>
              <a:gd name="connsiteX165" fmla="*/ 663167 w 1636453"/>
              <a:gd name="connsiteY165" fmla="*/ 0 h 467438"/>
              <a:gd name="connsiteX166" fmla="*/ 668399 w 1636453"/>
              <a:gd name="connsiteY166" fmla="*/ 0 h 467438"/>
              <a:gd name="connsiteX167" fmla="*/ 672406 w 1636453"/>
              <a:gd name="connsiteY167" fmla="*/ 0 h 467438"/>
              <a:gd name="connsiteX168" fmla="*/ 674183 w 1636453"/>
              <a:gd name="connsiteY168" fmla="*/ 0 h 467438"/>
              <a:gd name="connsiteX169" fmla="*/ 674437 w 1636453"/>
              <a:gd name="connsiteY169" fmla="*/ 0 h 467438"/>
              <a:gd name="connsiteX170" fmla="*/ 674446 w 1636453"/>
              <a:gd name="connsiteY170" fmla="*/ 0 h 467438"/>
              <a:gd name="connsiteX171" fmla="*/ 678444 w 1636453"/>
              <a:gd name="connsiteY171" fmla="*/ 0 h 467438"/>
              <a:gd name="connsiteX172" fmla="*/ 678454 w 1636453"/>
              <a:gd name="connsiteY172" fmla="*/ 0 h 467438"/>
              <a:gd name="connsiteX173" fmla="*/ 680230 w 1636453"/>
              <a:gd name="connsiteY173" fmla="*/ 0 h 467438"/>
              <a:gd name="connsiteX174" fmla="*/ 681761 w 1636453"/>
              <a:gd name="connsiteY174" fmla="*/ 0 h 467438"/>
              <a:gd name="connsiteX175" fmla="*/ 684803 w 1636453"/>
              <a:gd name="connsiteY175" fmla="*/ 0 h 467438"/>
              <a:gd name="connsiteX176" fmla="*/ 695507 w 1636453"/>
              <a:gd name="connsiteY176" fmla="*/ 0 h 467438"/>
              <a:gd name="connsiteX177" fmla="*/ 696690 w 1636453"/>
              <a:gd name="connsiteY177" fmla="*/ 0 h 467438"/>
              <a:gd name="connsiteX178" fmla="*/ 698825 w 1636453"/>
              <a:gd name="connsiteY178" fmla="*/ 0 h 467438"/>
              <a:gd name="connsiteX179" fmla="*/ 700697 w 1636453"/>
              <a:gd name="connsiteY179" fmla="*/ 0 h 467438"/>
              <a:gd name="connsiteX180" fmla="*/ 702832 w 1636453"/>
              <a:gd name="connsiteY180" fmla="*/ 0 h 467438"/>
              <a:gd name="connsiteX181" fmla="*/ 711967 w 1636453"/>
              <a:gd name="connsiteY181" fmla="*/ 0 h 467438"/>
              <a:gd name="connsiteX182" fmla="*/ 714719 w 1636453"/>
              <a:gd name="connsiteY182" fmla="*/ 0 h 467438"/>
              <a:gd name="connsiteX183" fmla="*/ 715974 w 1636453"/>
              <a:gd name="connsiteY183" fmla="*/ 0 h 467438"/>
              <a:gd name="connsiteX184" fmla="*/ 717751 w 1636453"/>
              <a:gd name="connsiteY184" fmla="*/ 0 h 467438"/>
              <a:gd name="connsiteX185" fmla="*/ 717760 w 1636453"/>
              <a:gd name="connsiteY185" fmla="*/ 0 h 467438"/>
              <a:gd name="connsiteX186" fmla="*/ 718014 w 1636453"/>
              <a:gd name="connsiteY186" fmla="*/ 0 h 467438"/>
              <a:gd name="connsiteX187" fmla="*/ 722021 w 1636453"/>
              <a:gd name="connsiteY187" fmla="*/ 0 h 467438"/>
              <a:gd name="connsiteX188" fmla="*/ 723798 w 1636453"/>
              <a:gd name="connsiteY188" fmla="*/ 0 h 467438"/>
              <a:gd name="connsiteX189" fmla="*/ 729996 w 1636453"/>
              <a:gd name="connsiteY189" fmla="*/ 0 h 467438"/>
              <a:gd name="connsiteX190" fmla="*/ 733037 w 1636453"/>
              <a:gd name="connsiteY190" fmla="*/ 0 h 467438"/>
              <a:gd name="connsiteX191" fmla="*/ 736043 w 1636453"/>
              <a:gd name="connsiteY191" fmla="*/ 0 h 467438"/>
              <a:gd name="connsiteX192" fmla="*/ 739075 w 1636453"/>
              <a:gd name="connsiteY192" fmla="*/ 0 h 467438"/>
              <a:gd name="connsiteX193" fmla="*/ 739084 w 1636453"/>
              <a:gd name="connsiteY193" fmla="*/ 0 h 467438"/>
              <a:gd name="connsiteX194" fmla="*/ 742393 w 1636453"/>
              <a:gd name="connsiteY194" fmla="*/ 0 h 467438"/>
              <a:gd name="connsiteX195" fmla="*/ 746399 w 1636453"/>
              <a:gd name="connsiteY195" fmla="*/ 0 h 467438"/>
              <a:gd name="connsiteX196" fmla="*/ 758286 w 1636453"/>
              <a:gd name="connsiteY196" fmla="*/ 0 h 467438"/>
              <a:gd name="connsiteX197" fmla="*/ 761328 w 1636453"/>
              <a:gd name="connsiteY197" fmla="*/ 0 h 467438"/>
              <a:gd name="connsiteX198" fmla="*/ 763463 w 1636453"/>
              <a:gd name="connsiteY198" fmla="*/ 0 h 467438"/>
              <a:gd name="connsiteX199" fmla="*/ 773563 w 1636453"/>
              <a:gd name="connsiteY199" fmla="*/ 0 h 467438"/>
              <a:gd name="connsiteX200" fmla="*/ 773573 w 1636453"/>
              <a:gd name="connsiteY200" fmla="*/ 0 h 467438"/>
              <a:gd name="connsiteX201" fmla="*/ 775349 w 1636453"/>
              <a:gd name="connsiteY201" fmla="*/ 0 h 467438"/>
              <a:gd name="connsiteX202" fmla="*/ 776605 w 1636453"/>
              <a:gd name="connsiteY202" fmla="*/ 0 h 467438"/>
              <a:gd name="connsiteX203" fmla="*/ 779357 w 1636453"/>
              <a:gd name="connsiteY203" fmla="*/ 0 h 467438"/>
              <a:gd name="connsiteX204" fmla="*/ 779610 w 1636453"/>
              <a:gd name="connsiteY204" fmla="*/ 0 h 467438"/>
              <a:gd name="connsiteX205" fmla="*/ 782652 w 1636453"/>
              <a:gd name="connsiteY205" fmla="*/ 0 h 467438"/>
              <a:gd name="connsiteX206" fmla="*/ 790626 w 1636453"/>
              <a:gd name="connsiteY206" fmla="*/ 0 h 467438"/>
              <a:gd name="connsiteX207" fmla="*/ 794634 w 1636453"/>
              <a:gd name="connsiteY207" fmla="*/ 0 h 467438"/>
              <a:gd name="connsiteX208" fmla="*/ 796213 w 1636453"/>
              <a:gd name="connsiteY208" fmla="*/ 0 h 467438"/>
              <a:gd name="connsiteX209" fmla="*/ 796466 w 1636453"/>
              <a:gd name="connsiteY209" fmla="*/ 0 h 467438"/>
              <a:gd name="connsiteX210" fmla="*/ 796673 w 1636453"/>
              <a:gd name="connsiteY210" fmla="*/ 0 h 467438"/>
              <a:gd name="connsiteX211" fmla="*/ 798243 w 1636453"/>
              <a:gd name="connsiteY211" fmla="*/ 0 h 467438"/>
              <a:gd name="connsiteX212" fmla="*/ 798252 w 1636453"/>
              <a:gd name="connsiteY212" fmla="*/ 0 h 467438"/>
              <a:gd name="connsiteX213" fmla="*/ 800681 w 1636453"/>
              <a:gd name="connsiteY213" fmla="*/ 0 h 467438"/>
              <a:gd name="connsiteX214" fmla="*/ 802250 w 1636453"/>
              <a:gd name="connsiteY214" fmla="*/ 0 h 467438"/>
              <a:gd name="connsiteX215" fmla="*/ 802260 w 1636453"/>
              <a:gd name="connsiteY215" fmla="*/ 0 h 467438"/>
              <a:gd name="connsiteX216" fmla="*/ 807031 w 1636453"/>
              <a:gd name="connsiteY216" fmla="*/ 0 h 467438"/>
              <a:gd name="connsiteX217" fmla="*/ 813529 w 1636453"/>
              <a:gd name="connsiteY217" fmla="*/ 0 h 467438"/>
              <a:gd name="connsiteX218" fmla="*/ 817140 w 1636453"/>
              <a:gd name="connsiteY218" fmla="*/ 0 h 467438"/>
              <a:gd name="connsiteX219" fmla="*/ 817537 w 1636453"/>
              <a:gd name="connsiteY219" fmla="*/ 0 h 467438"/>
              <a:gd name="connsiteX220" fmla="*/ 818917 w 1636453"/>
              <a:gd name="connsiteY220" fmla="*/ 0 h 467438"/>
              <a:gd name="connsiteX221" fmla="*/ 819313 w 1636453"/>
              <a:gd name="connsiteY221" fmla="*/ 0 h 467438"/>
              <a:gd name="connsiteX222" fmla="*/ 822924 w 1636453"/>
              <a:gd name="connsiteY222" fmla="*/ 0 h 467438"/>
              <a:gd name="connsiteX223" fmla="*/ 829423 w 1636453"/>
              <a:gd name="connsiteY223" fmla="*/ 0 h 467438"/>
              <a:gd name="connsiteX224" fmla="*/ 834194 w 1636453"/>
              <a:gd name="connsiteY224" fmla="*/ 0 h 467438"/>
              <a:gd name="connsiteX225" fmla="*/ 834203 w 1636453"/>
              <a:gd name="connsiteY225" fmla="*/ 0 h 467438"/>
              <a:gd name="connsiteX226" fmla="*/ 835773 w 1636453"/>
              <a:gd name="connsiteY226" fmla="*/ 0 h 467438"/>
              <a:gd name="connsiteX227" fmla="*/ 838201 w 1636453"/>
              <a:gd name="connsiteY227" fmla="*/ 0 h 467438"/>
              <a:gd name="connsiteX228" fmla="*/ 838211 w 1636453"/>
              <a:gd name="connsiteY228" fmla="*/ 0 h 467438"/>
              <a:gd name="connsiteX229" fmla="*/ 839780 w 1636453"/>
              <a:gd name="connsiteY229" fmla="*/ 0 h 467438"/>
              <a:gd name="connsiteX230" fmla="*/ 839987 w 1636453"/>
              <a:gd name="connsiteY230" fmla="*/ 0 h 467438"/>
              <a:gd name="connsiteX231" fmla="*/ 840241 w 1636453"/>
              <a:gd name="connsiteY231" fmla="*/ 0 h 467438"/>
              <a:gd name="connsiteX232" fmla="*/ 841820 w 1636453"/>
              <a:gd name="connsiteY232" fmla="*/ 0 h 467438"/>
              <a:gd name="connsiteX233" fmla="*/ 845827 w 1636453"/>
              <a:gd name="connsiteY233" fmla="*/ 0 h 467438"/>
              <a:gd name="connsiteX234" fmla="*/ 853802 w 1636453"/>
              <a:gd name="connsiteY234" fmla="*/ 0 h 467438"/>
              <a:gd name="connsiteX235" fmla="*/ 856843 w 1636453"/>
              <a:gd name="connsiteY235" fmla="*/ 0 h 467438"/>
              <a:gd name="connsiteX236" fmla="*/ 857097 w 1636453"/>
              <a:gd name="connsiteY236" fmla="*/ 0 h 467438"/>
              <a:gd name="connsiteX237" fmla="*/ 859849 w 1636453"/>
              <a:gd name="connsiteY237" fmla="*/ 0 h 467438"/>
              <a:gd name="connsiteX238" fmla="*/ 861104 w 1636453"/>
              <a:gd name="connsiteY238" fmla="*/ 0 h 467438"/>
              <a:gd name="connsiteX239" fmla="*/ 862881 w 1636453"/>
              <a:gd name="connsiteY239" fmla="*/ 0 h 467438"/>
              <a:gd name="connsiteX240" fmla="*/ 862890 w 1636453"/>
              <a:gd name="connsiteY240" fmla="*/ 0 h 467438"/>
              <a:gd name="connsiteX241" fmla="*/ 872990 w 1636453"/>
              <a:gd name="connsiteY241" fmla="*/ 0 h 467438"/>
              <a:gd name="connsiteX242" fmla="*/ 875126 w 1636453"/>
              <a:gd name="connsiteY242" fmla="*/ 0 h 467438"/>
              <a:gd name="connsiteX243" fmla="*/ 878167 w 1636453"/>
              <a:gd name="connsiteY243" fmla="*/ 0 h 467438"/>
              <a:gd name="connsiteX244" fmla="*/ 890054 w 1636453"/>
              <a:gd name="connsiteY244" fmla="*/ 0 h 467438"/>
              <a:gd name="connsiteX245" fmla="*/ 894061 w 1636453"/>
              <a:gd name="connsiteY245" fmla="*/ 0 h 467438"/>
              <a:gd name="connsiteX246" fmla="*/ 897369 w 1636453"/>
              <a:gd name="connsiteY246" fmla="*/ 0 h 467438"/>
              <a:gd name="connsiteX247" fmla="*/ 897379 w 1636453"/>
              <a:gd name="connsiteY247" fmla="*/ 0 h 467438"/>
              <a:gd name="connsiteX248" fmla="*/ 900411 w 1636453"/>
              <a:gd name="connsiteY248" fmla="*/ 0 h 467438"/>
              <a:gd name="connsiteX249" fmla="*/ 903416 w 1636453"/>
              <a:gd name="connsiteY249" fmla="*/ 0 h 467438"/>
              <a:gd name="connsiteX250" fmla="*/ 906458 w 1636453"/>
              <a:gd name="connsiteY250" fmla="*/ 0 h 467438"/>
              <a:gd name="connsiteX251" fmla="*/ 912656 w 1636453"/>
              <a:gd name="connsiteY251" fmla="*/ 0 h 467438"/>
              <a:gd name="connsiteX252" fmla="*/ 914432 w 1636453"/>
              <a:gd name="connsiteY252" fmla="*/ 0 h 467438"/>
              <a:gd name="connsiteX253" fmla="*/ 918440 w 1636453"/>
              <a:gd name="connsiteY253" fmla="*/ 0 h 467438"/>
              <a:gd name="connsiteX254" fmla="*/ 918693 w 1636453"/>
              <a:gd name="connsiteY254" fmla="*/ 0 h 467438"/>
              <a:gd name="connsiteX255" fmla="*/ 918703 w 1636453"/>
              <a:gd name="connsiteY255" fmla="*/ 0 h 467438"/>
              <a:gd name="connsiteX256" fmla="*/ 920480 w 1636453"/>
              <a:gd name="connsiteY256" fmla="*/ 0 h 467438"/>
              <a:gd name="connsiteX257" fmla="*/ 921735 w 1636453"/>
              <a:gd name="connsiteY257" fmla="*/ 0 h 467438"/>
              <a:gd name="connsiteX258" fmla="*/ 924487 w 1636453"/>
              <a:gd name="connsiteY258" fmla="*/ 0 h 467438"/>
              <a:gd name="connsiteX259" fmla="*/ 933622 w 1636453"/>
              <a:gd name="connsiteY259" fmla="*/ 0 h 467438"/>
              <a:gd name="connsiteX260" fmla="*/ 935756 w 1636453"/>
              <a:gd name="connsiteY260" fmla="*/ 0 h 467438"/>
              <a:gd name="connsiteX261" fmla="*/ 937628 w 1636453"/>
              <a:gd name="connsiteY261" fmla="*/ 0 h 467438"/>
              <a:gd name="connsiteX262" fmla="*/ 939764 w 1636453"/>
              <a:gd name="connsiteY262" fmla="*/ 0 h 467438"/>
              <a:gd name="connsiteX263" fmla="*/ 940946 w 1636453"/>
              <a:gd name="connsiteY263" fmla="*/ 0 h 467438"/>
              <a:gd name="connsiteX264" fmla="*/ 951651 w 1636453"/>
              <a:gd name="connsiteY264" fmla="*/ 0 h 467438"/>
              <a:gd name="connsiteX265" fmla="*/ 954692 w 1636453"/>
              <a:gd name="connsiteY265" fmla="*/ 0 h 467438"/>
              <a:gd name="connsiteX266" fmla="*/ 956223 w 1636453"/>
              <a:gd name="connsiteY266" fmla="*/ 0 h 467438"/>
              <a:gd name="connsiteX267" fmla="*/ 958000 w 1636453"/>
              <a:gd name="connsiteY267" fmla="*/ 0 h 467438"/>
              <a:gd name="connsiteX268" fmla="*/ 958009 w 1636453"/>
              <a:gd name="connsiteY268" fmla="*/ 0 h 467438"/>
              <a:gd name="connsiteX269" fmla="*/ 962007 w 1636453"/>
              <a:gd name="connsiteY269" fmla="*/ 0 h 467438"/>
              <a:gd name="connsiteX270" fmla="*/ 962017 w 1636453"/>
              <a:gd name="connsiteY270" fmla="*/ 0 h 467438"/>
              <a:gd name="connsiteX271" fmla="*/ 962270 w 1636453"/>
              <a:gd name="connsiteY271" fmla="*/ 0 h 467438"/>
              <a:gd name="connsiteX272" fmla="*/ 964048 w 1636453"/>
              <a:gd name="connsiteY272" fmla="*/ 0 h 467438"/>
              <a:gd name="connsiteX273" fmla="*/ 968054 w 1636453"/>
              <a:gd name="connsiteY273" fmla="*/ 0 h 467438"/>
              <a:gd name="connsiteX274" fmla="*/ 973286 w 1636453"/>
              <a:gd name="connsiteY274" fmla="*/ 0 h 467438"/>
              <a:gd name="connsiteX275" fmla="*/ 977294 w 1636453"/>
              <a:gd name="connsiteY275" fmla="*/ 0 h 467438"/>
              <a:gd name="connsiteX276" fmla="*/ 979070 w 1636453"/>
              <a:gd name="connsiteY276" fmla="*/ 0 h 467438"/>
              <a:gd name="connsiteX277" fmla="*/ 979324 w 1636453"/>
              <a:gd name="connsiteY277" fmla="*/ 0 h 467438"/>
              <a:gd name="connsiteX278" fmla="*/ 979333 w 1636453"/>
              <a:gd name="connsiteY278" fmla="*/ 0 h 467438"/>
              <a:gd name="connsiteX279" fmla="*/ 983331 w 1636453"/>
              <a:gd name="connsiteY279" fmla="*/ 0 h 467438"/>
              <a:gd name="connsiteX280" fmla="*/ 983341 w 1636453"/>
              <a:gd name="connsiteY280" fmla="*/ 0 h 467438"/>
              <a:gd name="connsiteX281" fmla="*/ 985118 w 1636453"/>
              <a:gd name="connsiteY281" fmla="*/ 0 h 467438"/>
              <a:gd name="connsiteX282" fmla="*/ 989180 w 1636453"/>
              <a:gd name="connsiteY282" fmla="*/ 0 h 467438"/>
              <a:gd name="connsiteX283" fmla="*/ 995218 w 1636453"/>
              <a:gd name="connsiteY283" fmla="*/ 0 h 467438"/>
              <a:gd name="connsiteX284" fmla="*/ 995228 w 1636453"/>
              <a:gd name="connsiteY284" fmla="*/ 0 h 467438"/>
              <a:gd name="connsiteX285" fmla="*/ 998260 w 1636453"/>
              <a:gd name="connsiteY285" fmla="*/ 0 h 467438"/>
              <a:gd name="connsiteX286" fmla="*/ 1000394 w 1636453"/>
              <a:gd name="connsiteY286" fmla="*/ 0 h 467438"/>
              <a:gd name="connsiteX287" fmla="*/ 1001577 w 1636453"/>
              <a:gd name="connsiteY287" fmla="*/ 0 h 467438"/>
              <a:gd name="connsiteX288" fmla="*/ 1005584 w 1636453"/>
              <a:gd name="connsiteY288" fmla="*/ 0 h 467438"/>
              <a:gd name="connsiteX289" fmla="*/ 1010504 w 1636453"/>
              <a:gd name="connsiteY289" fmla="*/ 0 h 467438"/>
              <a:gd name="connsiteX290" fmla="*/ 1012281 w 1636453"/>
              <a:gd name="connsiteY290" fmla="*/ 0 h 467438"/>
              <a:gd name="connsiteX291" fmla="*/ 1016289 w 1636453"/>
              <a:gd name="connsiteY291" fmla="*/ 0 h 467438"/>
              <a:gd name="connsiteX292" fmla="*/ 1016854 w 1636453"/>
              <a:gd name="connsiteY292" fmla="*/ 0 h 467438"/>
              <a:gd name="connsiteX293" fmla="*/ 1019606 w 1636453"/>
              <a:gd name="connsiteY293" fmla="*/ 0 h 467438"/>
              <a:gd name="connsiteX294" fmla="*/ 1020861 w 1636453"/>
              <a:gd name="connsiteY294" fmla="*/ 0 h 467438"/>
              <a:gd name="connsiteX295" fmla="*/ 1022638 w 1636453"/>
              <a:gd name="connsiteY295" fmla="*/ 0 h 467438"/>
              <a:gd name="connsiteX296" fmla="*/ 1022647 w 1636453"/>
              <a:gd name="connsiteY296" fmla="*/ 0 h 467438"/>
              <a:gd name="connsiteX297" fmla="*/ 1022901 w 1636453"/>
              <a:gd name="connsiteY297" fmla="*/ 0 h 467438"/>
              <a:gd name="connsiteX298" fmla="*/ 1026908 w 1636453"/>
              <a:gd name="connsiteY298" fmla="*/ 0 h 467438"/>
              <a:gd name="connsiteX299" fmla="*/ 1028686 w 1636453"/>
              <a:gd name="connsiteY299" fmla="*/ 0 h 467438"/>
              <a:gd name="connsiteX300" fmla="*/ 1032747 w 1636453"/>
              <a:gd name="connsiteY300" fmla="*/ 0 h 467438"/>
              <a:gd name="connsiteX301" fmla="*/ 1034883 w 1636453"/>
              <a:gd name="connsiteY301" fmla="*/ 0 h 467438"/>
              <a:gd name="connsiteX302" fmla="*/ 1037924 w 1636453"/>
              <a:gd name="connsiteY302" fmla="*/ 0 h 467438"/>
              <a:gd name="connsiteX303" fmla="*/ 1038795 w 1636453"/>
              <a:gd name="connsiteY303" fmla="*/ 0 h 467438"/>
              <a:gd name="connsiteX304" fmla="*/ 1040930 w 1636453"/>
              <a:gd name="connsiteY304" fmla="*/ 0 h 467438"/>
              <a:gd name="connsiteX305" fmla="*/ 1043962 w 1636453"/>
              <a:gd name="connsiteY305" fmla="*/ 0 h 467438"/>
              <a:gd name="connsiteX306" fmla="*/ 1043971 w 1636453"/>
              <a:gd name="connsiteY306" fmla="*/ 0 h 467438"/>
              <a:gd name="connsiteX307" fmla="*/ 1049811 w 1636453"/>
              <a:gd name="connsiteY307" fmla="*/ 0 h 467438"/>
              <a:gd name="connsiteX308" fmla="*/ 1053818 w 1636453"/>
              <a:gd name="connsiteY308" fmla="*/ 0 h 467438"/>
              <a:gd name="connsiteX309" fmla="*/ 1054072 w 1636453"/>
              <a:gd name="connsiteY309" fmla="*/ 0 h 467438"/>
              <a:gd name="connsiteX310" fmla="*/ 1055849 w 1636453"/>
              <a:gd name="connsiteY310" fmla="*/ 0 h 467438"/>
              <a:gd name="connsiteX311" fmla="*/ 1055858 w 1636453"/>
              <a:gd name="connsiteY311" fmla="*/ 0 h 467438"/>
              <a:gd name="connsiteX312" fmla="*/ 1059856 w 1636453"/>
              <a:gd name="connsiteY312" fmla="*/ 0 h 467438"/>
              <a:gd name="connsiteX313" fmla="*/ 1059866 w 1636453"/>
              <a:gd name="connsiteY313" fmla="*/ 0 h 467438"/>
              <a:gd name="connsiteX314" fmla="*/ 1063173 w 1636453"/>
              <a:gd name="connsiteY314" fmla="*/ 0 h 467438"/>
              <a:gd name="connsiteX315" fmla="*/ 1066215 w 1636453"/>
              <a:gd name="connsiteY315" fmla="*/ 0 h 467438"/>
              <a:gd name="connsiteX316" fmla="*/ 1071135 w 1636453"/>
              <a:gd name="connsiteY316" fmla="*/ 0 h 467438"/>
              <a:gd name="connsiteX317" fmla="*/ 1075142 w 1636453"/>
              <a:gd name="connsiteY317" fmla="*/ 0 h 467438"/>
              <a:gd name="connsiteX318" fmla="*/ 1076919 w 1636453"/>
              <a:gd name="connsiteY318" fmla="*/ 0 h 467438"/>
              <a:gd name="connsiteX319" fmla="*/ 1078450 w 1636453"/>
              <a:gd name="connsiteY319" fmla="*/ 0 h 467438"/>
              <a:gd name="connsiteX320" fmla="*/ 1078460 w 1636453"/>
              <a:gd name="connsiteY320" fmla="*/ 0 h 467438"/>
              <a:gd name="connsiteX321" fmla="*/ 1080237 w 1636453"/>
              <a:gd name="connsiteY321" fmla="*/ 0 h 467438"/>
              <a:gd name="connsiteX322" fmla="*/ 1081492 w 1636453"/>
              <a:gd name="connsiteY322" fmla="*/ 0 h 467438"/>
              <a:gd name="connsiteX323" fmla="*/ 1084244 w 1636453"/>
              <a:gd name="connsiteY323" fmla="*/ 0 h 467438"/>
              <a:gd name="connsiteX324" fmla="*/ 1084497 w 1636453"/>
              <a:gd name="connsiteY324" fmla="*/ 0 h 467438"/>
              <a:gd name="connsiteX325" fmla="*/ 1087539 w 1636453"/>
              <a:gd name="connsiteY325" fmla="*/ 0 h 467438"/>
              <a:gd name="connsiteX326" fmla="*/ 1093379 w 1636453"/>
              <a:gd name="connsiteY326" fmla="*/ 0 h 467438"/>
              <a:gd name="connsiteX327" fmla="*/ 1095513 w 1636453"/>
              <a:gd name="connsiteY327" fmla="*/ 0 h 467438"/>
              <a:gd name="connsiteX328" fmla="*/ 1097385 w 1636453"/>
              <a:gd name="connsiteY328" fmla="*/ 0 h 467438"/>
              <a:gd name="connsiteX329" fmla="*/ 1099426 w 1636453"/>
              <a:gd name="connsiteY329" fmla="*/ 0 h 467438"/>
              <a:gd name="connsiteX330" fmla="*/ 1099521 w 1636453"/>
              <a:gd name="connsiteY330" fmla="*/ 0 h 467438"/>
              <a:gd name="connsiteX331" fmla="*/ 1101561 w 1636453"/>
              <a:gd name="connsiteY331" fmla="*/ 0 h 467438"/>
              <a:gd name="connsiteX332" fmla="*/ 1103433 w 1636453"/>
              <a:gd name="connsiteY332" fmla="*/ 0 h 467438"/>
              <a:gd name="connsiteX333" fmla="*/ 1105568 w 1636453"/>
              <a:gd name="connsiteY333" fmla="*/ 0 h 467438"/>
              <a:gd name="connsiteX334" fmla="*/ 1111408 w 1636453"/>
              <a:gd name="connsiteY334" fmla="*/ 0 h 467438"/>
              <a:gd name="connsiteX335" fmla="*/ 1114449 w 1636453"/>
              <a:gd name="connsiteY335" fmla="*/ 0 h 467438"/>
              <a:gd name="connsiteX336" fmla="*/ 1114703 w 1636453"/>
              <a:gd name="connsiteY336" fmla="*/ 0 h 467438"/>
              <a:gd name="connsiteX337" fmla="*/ 1117455 w 1636453"/>
              <a:gd name="connsiteY337" fmla="*/ 0 h 467438"/>
              <a:gd name="connsiteX338" fmla="*/ 1118710 w 1636453"/>
              <a:gd name="connsiteY338" fmla="*/ 0 h 467438"/>
              <a:gd name="connsiteX339" fmla="*/ 1120487 w 1636453"/>
              <a:gd name="connsiteY339" fmla="*/ 0 h 467438"/>
              <a:gd name="connsiteX340" fmla="*/ 1120496 w 1636453"/>
              <a:gd name="connsiteY340" fmla="*/ 0 h 467438"/>
              <a:gd name="connsiteX341" fmla="*/ 1122027 w 1636453"/>
              <a:gd name="connsiteY341" fmla="*/ 0 h 467438"/>
              <a:gd name="connsiteX342" fmla="*/ 1123805 w 1636453"/>
              <a:gd name="connsiteY342" fmla="*/ 0 h 467438"/>
              <a:gd name="connsiteX343" fmla="*/ 1127811 w 1636453"/>
              <a:gd name="connsiteY343" fmla="*/ 0 h 467438"/>
              <a:gd name="connsiteX344" fmla="*/ 1132732 w 1636453"/>
              <a:gd name="connsiteY344" fmla="*/ 0 h 467438"/>
              <a:gd name="connsiteX345" fmla="*/ 1135773 w 1636453"/>
              <a:gd name="connsiteY345" fmla="*/ 0 h 467438"/>
              <a:gd name="connsiteX346" fmla="*/ 1139081 w 1636453"/>
              <a:gd name="connsiteY346" fmla="*/ 0 h 467438"/>
              <a:gd name="connsiteX347" fmla="*/ 1139090 w 1636453"/>
              <a:gd name="connsiteY347" fmla="*/ 0 h 467438"/>
              <a:gd name="connsiteX348" fmla="*/ 1143088 w 1636453"/>
              <a:gd name="connsiteY348" fmla="*/ 0 h 467438"/>
              <a:gd name="connsiteX349" fmla="*/ 1143098 w 1636453"/>
              <a:gd name="connsiteY349" fmla="*/ 0 h 467438"/>
              <a:gd name="connsiteX350" fmla="*/ 1144875 w 1636453"/>
              <a:gd name="connsiteY350" fmla="*/ 0 h 467438"/>
              <a:gd name="connsiteX351" fmla="*/ 1145129 w 1636453"/>
              <a:gd name="connsiteY351" fmla="*/ 0 h 467438"/>
              <a:gd name="connsiteX352" fmla="*/ 1149135 w 1636453"/>
              <a:gd name="connsiteY352" fmla="*/ 0 h 467438"/>
              <a:gd name="connsiteX353" fmla="*/ 1154975 w 1636453"/>
              <a:gd name="connsiteY353" fmla="*/ 0 h 467438"/>
              <a:gd name="connsiteX354" fmla="*/ 1154985 w 1636453"/>
              <a:gd name="connsiteY354" fmla="*/ 0 h 467438"/>
              <a:gd name="connsiteX355" fmla="*/ 1158017 w 1636453"/>
              <a:gd name="connsiteY355" fmla="*/ 0 h 467438"/>
              <a:gd name="connsiteX356" fmla="*/ 1160151 w 1636453"/>
              <a:gd name="connsiteY356" fmla="*/ 0 h 467438"/>
              <a:gd name="connsiteX357" fmla="*/ 1161022 w 1636453"/>
              <a:gd name="connsiteY357" fmla="*/ 0 h 467438"/>
              <a:gd name="connsiteX358" fmla="*/ 1164064 w 1636453"/>
              <a:gd name="connsiteY358" fmla="*/ 0 h 467438"/>
              <a:gd name="connsiteX359" fmla="*/ 1166199 w 1636453"/>
              <a:gd name="connsiteY359" fmla="*/ 0 h 467438"/>
              <a:gd name="connsiteX360" fmla="*/ 1170261 w 1636453"/>
              <a:gd name="connsiteY360" fmla="*/ 0 h 467438"/>
              <a:gd name="connsiteX361" fmla="*/ 1172038 w 1636453"/>
              <a:gd name="connsiteY361" fmla="*/ 0 h 467438"/>
              <a:gd name="connsiteX362" fmla="*/ 1176046 w 1636453"/>
              <a:gd name="connsiteY362" fmla="*/ 0 h 467438"/>
              <a:gd name="connsiteX363" fmla="*/ 1176299 w 1636453"/>
              <a:gd name="connsiteY363" fmla="*/ 0 h 467438"/>
              <a:gd name="connsiteX364" fmla="*/ 1176309 w 1636453"/>
              <a:gd name="connsiteY364" fmla="*/ 0 h 467438"/>
              <a:gd name="connsiteX365" fmla="*/ 1178085 w 1636453"/>
              <a:gd name="connsiteY365" fmla="*/ 0 h 467438"/>
              <a:gd name="connsiteX366" fmla="*/ 1179341 w 1636453"/>
              <a:gd name="connsiteY366" fmla="*/ 0 h 467438"/>
              <a:gd name="connsiteX367" fmla="*/ 1182093 w 1636453"/>
              <a:gd name="connsiteY367" fmla="*/ 0 h 467438"/>
              <a:gd name="connsiteX368" fmla="*/ 1182658 w 1636453"/>
              <a:gd name="connsiteY368" fmla="*/ 0 h 467438"/>
              <a:gd name="connsiteX369" fmla="*/ 1186665 w 1636453"/>
              <a:gd name="connsiteY369" fmla="*/ 0 h 467438"/>
              <a:gd name="connsiteX370" fmla="*/ 1188443 w 1636453"/>
              <a:gd name="connsiteY370" fmla="*/ 0 h 467438"/>
              <a:gd name="connsiteX371" fmla="*/ 1193362 w 1636453"/>
              <a:gd name="connsiteY371" fmla="*/ 0 h 467438"/>
              <a:gd name="connsiteX372" fmla="*/ 1197370 w 1636453"/>
              <a:gd name="connsiteY372" fmla="*/ 0 h 467438"/>
              <a:gd name="connsiteX373" fmla="*/ 1198552 w 1636453"/>
              <a:gd name="connsiteY373" fmla="*/ 0 h 467438"/>
              <a:gd name="connsiteX374" fmla="*/ 1200687 w 1636453"/>
              <a:gd name="connsiteY374" fmla="*/ 0 h 467438"/>
              <a:gd name="connsiteX375" fmla="*/ 1203719 w 1636453"/>
              <a:gd name="connsiteY375" fmla="*/ 0 h 467438"/>
              <a:gd name="connsiteX376" fmla="*/ 1203728 w 1636453"/>
              <a:gd name="connsiteY376" fmla="*/ 0 h 467438"/>
              <a:gd name="connsiteX377" fmla="*/ 1209767 w 1636453"/>
              <a:gd name="connsiteY377" fmla="*/ 0 h 467438"/>
              <a:gd name="connsiteX378" fmla="*/ 1213829 w 1636453"/>
              <a:gd name="connsiteY378" fmla="*/ 0 h 467438"/>
              <a:gd name="connsiteX379" fmla="*/ 1215606 w 1636453"/>
              <a:gd name="connsiteY379" fmla="*/ 0 h 467438"/>
              <a:gd name="connsiteX380" fmla="*/ 1215615 w 1636453"/>
              <a:gd name="connsiteY380" fmla="*/ 0 h 467438"/>
              <a:gd name="connsiteX381" fmla="*/ 1219613 w 1636453"/>
              <a:gd name="connsiteY381" fmla="*/ 0 h 467438"/>
              <a:gd name="connsiteX382" fmla="*/ 1219623 w 1636453"/>
              <a:gd name="connsiteY382" fmla="*/ 0 h 467438"/>
              <a:gd name="connsiteX383" fmla="*/ 1219876 w 1636453"/>
              <a:gd name="connsiteY383" fmla="*/ 0 h 467438"/>
              <a:gd name="connsiteX384" fmla="*/ 1221653 w 1636453"/>
              <a:gd name="connsiteY384" fmla="*/ 0 h 467438"/>
              <a:gd name="connsiteX385" fmla="*/ 1225660 w 1636453"/>
              <a:gd name="connsiteY385" fmla="*/ 0 h 467438"/>
              <a:gd name="connsiteX386" fmla="*/ 1230892 w 1636453"/>
              <a:gd name="connsiteY386" fmla="*/ 0 h 467438"/>
              <a:gd name="connsiteX387" fmla="*/ 1234899 w 1636453"/>
              <a:gd name="connsiteY387" fmla="*/ 0 h 467438"/>
              <a:gd name="connsiteX388" fmla="*/ 1236676 w 1636453"/>
              <a:gd name="connsiteY388" fmla="*/ 0 h 467438"/>
              <a:gd name="connsiteX389" fmla="*/ 1236930 w 1636453"/>
              <a:gd name="connsiteY389" fmla="*/ 0 h 467438"/>
              <a:gd name="connsiteX390" fmla="*/ 1236939 w 1636453"/>
              <a:gd name="connsiteY390" fmla="*/ 0 h 467438"/>
              <a:gd name="connsiteX391" fmla="*/ 1240937 w 1636453"/>
              <a:gd name="connsiteY391" fmla="*/ 0 h 467438"/>
              <a:gd name="connsiteX392" fmla="*/ 1240947 w 1636453"/>
              <a:gd name="connsiteY392" fmla="*/ 0 h 467438"/>
              <a:gd name="connsiteX393" fmla="*/ 1242723 w 1636453"/>
              <a:gd name="connsiteY393" fmla="*/ 0 h 467438"/>
              <a:gd name="connsiteX394" fmla="*/ 1244254 w 1636453"/>
              <a:gd name="connsiteY394" fmla="*/ 0 h 467438"/>
              <a:gd name="connsiteX395" fmla="*/ 1247296 w 1636453"/>
              <a:gd name="connsiteY395" fmla="*/ 0 h 467438"/>
              <a:gd name="connsiteX396" fmla="*/ 1258000 w 1636453"/>
              <a:gd name="connsiteY396" fmla="*/ 0 h 467438"/>
              <a:gd name="connsiteX397" fmla="*/ 1259183 w 1636453"/>
              <a:gd name="connsiteY397" fmla="*/ 0 h 467438"/>
              <a:gd name="connsiteX398" fmla="*/ 1261318 w 1636453"/>
              <a:gd name="connsiteY398" fmla="*/ 0 h 467438"/>
              <a:gd name="connsiteX399" fmla="*/ 1263190 w 1636453"/>
              <a:gd name="connsiteY399" fmla="*/ 0 h 467438"/>
              <a:gd name="connsiteX400" fmla="*/ 1265325 w 1636453"/>
              <a:gd name="connsiteY400" fmla="*/ 0 h 467438"/>
              <a:gd name="connsiteX401" fmla="*/ 1274460 w 1636453"/>
              <a:gd name="connsiteY401" fmla="*/ 0 h 467438"/>
              <a:gd name="connsiteX402" fmla="*/ 1277212 w 1636453"/>
              <a:gd name="connsiteY402" fmla="*/ 0 h 467438"/>
              <a:gd name="connsiteX403" fmla="*/ 1278467 w 1636453"/>
              <a:gd name="connsiteY403" fmla="*/ 0 h 467438"/>
              <a:gd name="connsiteX404" fmla="*/ 1280244 w 1636453"/>
              <a:gd name="connsiteY404" fmla="*/ 0 h 467438"/>
              <a:gd name="connsiteX405" fmla="*/ 1280253 w 1636453"/>
              <a:gd name="connsiteY405" fmla="*/ 0 h 467438"/>
              <a:gd name="connsiteX406" fmla="*/ 1280507 w 1636453"/>
              <a:gd name="connsiteY406" fmla="*/ 0 h 467438"/>
              <a:gd name="connsiteX407" fmla="*/ 1284514 w 1636453"/>
              <a:gd name="connsiteY407" fmla="*/ 0 h 467438"/>
              <a:gd name="connsiteX408" fmla="*/ 1286291 w 1636453"/>
              <a:gd name="connsiteY408" fmla="*/ 0 h 467438"/>
              <a:gd name="connsiteX409" fmla="*/ 1292489 w 1636453"/>
              <a:gd name="connsiteY409" fmla="*/ 0 h 467438"/>
              <a:gd name="connsiteX410" fmla="*/ 1295530 w 1636453"/>
              <a:gd name="connsiteY410" fmla="*/ 0 h 467438"/>
              <a:gd name="connsiteX411" fmla="*/ 1298536 w 1636453"/>
              <a:gd name="connsiteY411" fmla="*/ 0 h 467438"/>
              <a:gd name="connsiteX412" fmla="*/ 1301568 w 1636453"/>
              <a:gd name="connsiteY412" fmla="*/ 0 h 467438"/>
              <a:gd name="connsiteX413" fmla="*/ 1301577 w 1636453"/>
              <a:gd name="connsiteY413" fmla="*/ 0 h 467438"/>
              <a:gd name="connsiteX414" fmla="*/ 1304886 w 1636453"/>
              <a:gd name="connsiteY414" fmla="*/ 0 h 467438"/>
              <a:gd name="connsiteX415" fmla="*/ 1308892 w 1636453"/>
              <a:gd name="connsiteY415" fmla="*/ 0 h 467438"/>
              <a:gd name="connsiteX416" fmla="*/ 1320779 w 1636453"/>
              <a:gd name="connsiteY416" fmla="*/ 0 h 467438"/>
              <a:gd name="connsiteX417" fmla="*/ 1323821 w 1636453"/>
              <a:gd name="connsiteY417" fmla="*/ 0 h 467438"/>
              <a:gd name="connsiteX418" fmla="*/ 1325956 w 1636453"/>
              <a:gd name="connsiteY418" fmla="*/ 0 h 467438"/>
              <a:gd name="connsiteX419" fmla="*/ 1336056 w 1636453"/>
              <a:gd name="connsiteY419" fmla="*/ 0 h 467438"/>
              <a:gd name="connsiteX420" fmla="*/ 1336066 w 1636453"/>
              <a:gd name="connsiteY420" fmla="*/ 0 h 467438"/>
              <a:gd name="connsiteX421" fmla="*/ 1337842 w 1636453"/>
              <a:gd name="connsiteY421" fmla="*/ 0 h 467438"/>
              <a:gd name="connsiteX422" fmla="*/ 1339098 w 1636453"/>
              <a:gd name="connsiteY422" fmla="*/ 0 h 467438"/>
              <a:gd name="connsiteX423" fmla="*/ 1341850 w 1636453"/>
              <a:gd name="connsiteY423" fmla="*/ 0 h 467438"/>
              <a:gd name="connsiteX424" fmla="*/ 1342103 w 1636453"/>
              <a:gd name="connsiteY424" fmla="*/ 0 h 467438"/>
              <a:gd name="connsiteX425" fmla="*/ 1345145 w 1636453"/>
              <a:gd name="connsiteY425" fmla="*/ 0 h 467438"/>
              <a:gd name="connsiteX426" fmla="*/ 1353119 w 1636453"/>
              <a:gd name="connsiteY426" fmla="*/ 0 h 467438"/>
              <a:gd name="connsiteX427" fmla="*/ 1357127 w 1636453"/>
              <a:gd name="connsiteY427" fmla="*/ 0 h 467438"/>
              <a:gd name="connsiteX428" fmla="*/ 1359166 w 1636453"/>
              <a:gd name="connsiteY428" fmla="*/ 0 h 467438"/>
              <a:gd name="connsiteX429" fmla="*/ 1363174 w 1636453"/>
              <a:gd name="connsiteY429" fmla="*/ 0 h 467438"/>
              <a:gd name="connsiteX430" fmla="*/ 1369524 w 1636453"/>
              <a:gd name="connsiteY430" fmla="*/ 0 h 467438"/>
              <a:gd name="connsiteX431" fmla="*/ 1379633 w 1636453"/>
              <a:gd name="connsiteY431" fmla="*/ 0 h 467438"/>
              <a:gd name="connsiteX432" fmla="*/ 1381410 w 1636453"/>
              <a:gd name="connsiteY432" fmla="*/ 0 h 467438"/>
              <a:gd name="connsiteX433" fmla="*/ 1385417 w 1636453"/>
              <a:gd name="connsiteY433" fmla="*/ 0 h 467438"/>
              <a:gd name="connsiteX434" fmla="*/ 1396687 w 1636453"/>
              <a:gd name="connsiteY434" fmla="*/ 0 h 467438"/>
              <a:gd name="connsiteX435" fmla="*/ 1396696 w 1636453"/>
              <a:gd name="connsiteY435" fmla="*/ 0 h 467438"/>
              <a:gd name="connsiteX436" fmla="*/ 1400694 w 1636453"/>
              <a:gd name="connsiteY436" fmla="*/ 0 h 467438"/>
              <a:gd name="connsiteX437" fmla="*/ 1400704 w 1636453"/>
              <a:gd name="connsiteY437" fmla="*/ 0 h 467438"/>
              <a:gd name="connsiteX438" fmla="*/ 1402480 w 1636453"/>
              <a:gd name="connsiteY438" fmla="*/ 0 h 467438"/>
              <a:gd name="connsiteX439" fmla="*/ 1402734 w 1636453"/>
              <a:gd name="connsiteY439" fmla="*/ 0 h 467438"/>
              <a:gd name="connsiteX440" fmla="*/ 1636453 w 1636453"/>
              <a:gd name="connsiteY440" fmla="*/ 233720 h 467438"/>
              <a:gd name="connsiteX441" fmla="*/ 1636452 w 1636453"/>
              <a:gd name="connsiteY441" fmla="*/ 233720 h 467438"/>
              <a:gd name="connsiteX442" fmla="*/ 1402734 w 1636453"/>
              <a:gd name="connsiteY442" fmla="*/ 467438 h 467438"/>
              <a:gd name="connsiteX443" fmla="*/ 1400705 w 1636453"/>
              <a:gd name="connsiteY443" fmla="*/ 467438 h 467438"/>
              <a:gd name="connsiteX444" fmla="*/ 1400703 w 1636453"/>
              <a:gd name="connsiteY444" fmla="*/ 467438 h 467438"/>
              <a:gd name="connsiteX445" fmla="*/ 1400694 w 1636453"/>
              <a:gd name="connsiteY445" fmla="*/ 467438 h 467438"/>
              <a:gd name="connsiteX446" fmla="*/ 1400693 w 1636453"/>
              <a:gd name="connsiteY446" fmla="*/ 467438 h 467438"/>
              <a:gd name="connsiteX447" fmla="*/ 1396698 w 1636453"/>
              <a:gd name="connsiteY447" fmla="*/ 467438 h 467438"/>
              <a:gd name="connsiteX448" fmla="*/ 1396695 w 1636453"/>
              <a:gd name="connsiteY448" fmla="*/ 467438 h 467438"/>
              <a:gd name="connsiteX449" fmla="*/ 1396686 w 1636453"/>
              <a:gd name="connsiteY449" fmla="*/ 467438 h 467438"/>
              <a:gd name="connsiteX450" fmla="*/ 1379633 w 1636453"/>
              <a:gd name="connsiteY450" fmla="*/ 467438 h 467438"/>
              <a:gd name="connsiteX451" fmla="*/ 1379632 w 1636453"/>
              <a:gd name="connsiteY451" fmla="*/ 467438 h 467438"/>
              <a:gd name="connsiteX452" fmla="*/ 1369523 w 1636453"/>
              <a:gd name="connsiteY452" fmla="*/ 467438 h 467438"/>
              <a:gd name="connsiteX453" fmla="*/ 1363176 w 1636453"/>
              <a:gd name="connsiteY453" fmla="*/ 467438 h 467438"/>
              <a:gd name="connsiteX454" fmla="*/ 1363173 w 1636453"/>
              <a:gd name="connsiteY454" fmla="*/ 467438 h 467438"/>
              <a:gd name="connsiteX455" fmla="*/ 1359168 w 1636453"/>
              <a:gd name="connsiteY455" fmla="*/ 467438 h 467438"/>
              <a:gd name="connsiteX456" fmla="*/ 1359166 w 1636453"/>
              <a:gd name="connsiteY456" fmla="*/ 467438 h 467438"/>
              <a:gd name="connsiteX457" fmla="*/ 1357128 w 1636453"/>
              <a:gd name="connsiteY457" fmla="*/ 467438 h 467438"/>
              <a:gd name="connsiteX458" fmla="*/ 1357126 w 1636453"/>
              <a:gd name="connsiteY458" fmla="*/ 467438 h 467438"/>
              <a:gd name="connsiteX459" fmla="*/ 1353121 w 1636453"/>
              <a:gd name="connsiteY459" fmla="*/ 467438 h 467438"/>
              <a:gd name="connsiteX460" fmla="*/ 1353118 w 1636453"/>
              <a:gd name="connsiteY460" fmla="*/ 467438 h 467438"/>
              <a:gd name="connsiteX461" fmla="*/ 1345145 w 1636453"/>
              <a:gd name="connsiteY461" fmla="*/ 467438 h 467438"/>
              <a:gd name="connsiteX462" fmla="*/ 1345144 w 1636453"/>
              <a:gd name="connsiteY462" fmla="*/ 467438 h 467438"/>
              <a:gd name="connsiteX463" fmla="*/ 1342103 w 1636453"/>
              <a:gd name="connsiteY463" fmla="*/ 467438 h 467438"/>
              <a:gd name="connsiteX464" fmla="*/ 1342102 w 1636453"/>
              <a:gd name="connsiteY464" fmla="*/ 467438 h 467438"/>
              <a:gd name="connsiteX465" fmla="*/ 1339098 w 1636453"/>
              <a:gd name="connsiteY465" fmla="*/ 467438 h 467438"/>
              <a:gd name="connsiteX466" fmla="*/ 1339097 w 1636453"/>
              <a:gd name="connsiteY466" fmla="*/ 467438 h 467438"/>
              <a:gd name="connsiteX467" fmla="*/ 1336067 w 1636453"/>
              <a:gd name="connsiteY467" fmla="*/ 467438 h 467438"/>
              <a:gd name="connsiteX468" fmla="*/ 1336065 w 1636453"/>
              <a:gd name="connsiteY468" fmla="*/ 467438 h 467438"/>
              <a:gd name="connsiteX469" fmla="*/ 1336056 w 1636453"/>
              <a:gd name="connsiteY469" fmla="*/ 467438 h 467438"/>
              <a:gd name="connsiteX470" fmla="*/ 1336055 w 1636453"/>
              <a:gd name="connsiteY470" fmla="*/ 467438 h 467438"/>
              <a:gd name="connsiteX471" fmla="*/ 1325957 w 1636453"/>
              <a:gd name="connsiteY471" fmla="*/ 467438 h 467438"/>
              <a:gd name="connsiteX472" fmla="*/ 1325955 w 1636453"/>
              <a:gd name="connsiteY472" fmla="*/ 467438 h 467438"/>
              <a:gd name="connsiteX473" fmla="*/ 1308892 w 1636453"/>
              <a:gd name="connsiteY473" fmla="*/ 467438 h 467438"/>
              <a:gd name="connsiteX474" fmla="*/ 1304885 w 1636453"/>
              <a:gd name="connsiteY474" fmla="*/ 467438 h 467438"/>
              <a:gd name="connsiteX475" fmla="*/ 1301579 w 1636453"/>
              <a:gd name="connsiteY475" fmla="*/ 467438 h 467438"/>
              <a:gd name="connsiteX476" fmla="*/ 1301576 w 1636453"/>
              <a:gd name="connsiteY476" fmla="*/ 467438 h 467438"/>
              <a:gd name="connsiteX477" fmla="*/ 1301567 w 1636453"/>
              <a:gd name="connsiteY477" fmla="*/ 467438 h 467438"/>
              <a:gd name="connsiteX478" fmla="*/ 1298538 w 1636453"/>
              <a:gd name="connsiteY478" fmla="*/ 467438 h 467438"/>
              <a:gd name="connsiteX479" fmla="*/ 1298535 w 1636453"/>
              <a:gd name="connsiteY479" fmla="*/ 467438 h 467438"/>
              <a:gd name="connsiteX480" fmla="*/ 1295531 w 1636453"/>
              <a:gd name="connsiteY480" fmla="*/ 467438 h 467438"/>
              <a:gd name="connsiteX481" fmla="*/ 1295529 w 1636453"/>
              <a:gd name="connsiteY481" fmla="*/ 467438 h 467438"/>
              <a:gd name="connsiteX482" fmla="*/ 1292490 w 1636453"/>
              <a:gd name="connsiteY482" fmla="*/ 467438 h 467438"/>
              <a:gd name="connsiteX483" fmla="*/ 1292488 w 1636453"/>
              <a:gd name="connsiteY483" fmla="*/ 467438 h 467438"/>
              <a:gd name="connsiteX484" fmla="*/ 1284514 w 1636453"/>
              <a:gd name="connsiteY484" fmla="*/ 467438 h 467438"/>
              <a:gd name="connsiteX485" fmla="*/ 1284513 w 1636453"/>
              <a:gd name="connsiteY485" fmla="*/ 467438 h 467438"/>
              <a:gd name="connsiteX486" fmla="*/ 1280507 w 1636453"/>
              <a:gd name="connsiteY486" fmla="*/ 467438 h 467438"/>
              <a:gd name="connsiteX487" fmla="*/ 1280506 w 1636453"/>
              <a:gd name="connsiteY487" fmla="*/ 467438 h 467438"/>
              <a:gd name="connsiteX488" fmla="*/ 1278467 w 1636453"/>
              <a:gd name="connsiteY488" fmla="*/ 467438 h 467438"/>
              <a:gd name="connsiteX489" fmla="*/ 1278466 w 1636453"/>
              <a:gd name="connsiteY489" fmla="*/ 467438 h 467438"/>
              <a:gd name="connsiteX490" fmla="*/ 1274460 w 1636453"/>
              <a:gd name="connsiteY490" fmla="*/ 467438 h 467438"/>
              <a:gd name="connsiteX491" fmla="*/ 1274459 w 1636453"/>
              <a:gd name="connsiteY491" fmla="*/ 467438 h 467438"/>
              <a:gd name="connsiteX492" fmla="*/ 1265327 w 1636453"/>
              <a:gd name="connsiteY492" fmla="*/ 467438 h 467438"/>
              <a:gd name="connsiteX493" fmla="*/ 1265325 w 1636453"/>
              <a:gd name="connsiteY493" fmla="*/ 467438 h 467438"/>
              <a:gd name="connsiteX494" fmla="*/ 1261319 w 1636453"/>
              <a:gd name="connsiteY494" fmla="*/ 467438 h 467438"/>
              <a:gd name="connsiteX495" fmla="*/ 1261317 w 1636453"/>
              <a:gd name="connsiteY495" fmla="*/ 467438 h 467438"/>
              <a:gd name="connsiteX496" fmla="*/ 1258002 w 1636453"/>
              <a:gd name="connsiteY496" fmla="*/ 467438 h 467438"/>
              <a:gd name="connsiteX497" fmla="*/ 1257999 w 1636453"/>
              <a:gd name="connsiteY497" fmla="*/ 467438 h 467438"/>
              <a:gd name="connsiteX498" fmla="*/ 1247296 w 1636453"/>
              <a:gd name="connsiteY498" fmla="*/ 467438 h 467438"/>
              <a:gd name="connsiteX499" fmla="*/ 1244254 w 1636453"/>
              <a:gd name="connsiteY499" fmla="*/ 467438 h 467438"/>
              <a:gd name="connsiteX500" fmla="*/ 1240948 w 1636453"/>
              <a:gd name="connsiteY500" fmla="*/ 467438 h 467438"/>
              <a:gd name="connsiteX501" fmla="*/ 1240946 w 1636453"/>
              <a:gd name="connsiteY501" fmla="*/ 467438 h 467438"/>
              <a:gd name="connsiteX502" fmla="*/ 1240937 w 1636453"/>
              <a:gd name="connsiteY502" fmla="*/ 467438 h 467438"/>
              <a:gd name="connsiteX503" fmla="*/ 1240936 w 1636453"/>
              <a:gd name="connsiteY503" fmla="*/ 467438 h 467438"/>
              <a:gd name="connsiteX504" fmla="*/ 1236941 w 1636453"/>
              <a:gd name="connsiteY504" fmla="*/ 467438 h 467438"/>
              <a:gd name="connsiteX505" fmla="*/ 1236938 w 1636453"/>
              <a:gd name="connsiteY505" fmla="*/ 467438 h 467438"/>
              <a:gd name="connsiteX506" fmla="*/ 1236929 w 1636453"/>
              <a:gd name="connsiteY506" fmla="*/ 467438 h 467438"/>
              <a:gd name="connsiteX507" fmla="*/ 1234900 w 1636453"/>
              <a:gd name="connsiteY507" fmla="*/ 467438 h 467438"/>
              <a:gd name="connsiteX508" fmla="*/ 1234899 w 1636453"/>
              <a:gd name="connsiteY508" fmla="*/ 467438 h 467438"/>
              <a:gd name="connsiteX509" fmla="*/ 1230893 w 1636453"/>
              <a:gd name="connsiteY509" fmla="*/ 467438 h 467438"/>
              <a:gd name="connsiteX510" fmla="*/ 1230891 w 1636453"/>
              <a:gd name="connsiteY510" fmla="*/ 467438 h 467438"/>
              <a:gd name="connsiteX511" fmla="*/ 1219876 w 1636453"/>
              <a:gd name="connsiteY511" fmla="*/ 467438 h 467438"/>
              <a:gd name="connsiteX512" fmla="*/ 1219875 w 1636453"/>
              <a:gd name="connsiteY512" fmla="*/ 467438 h 467438"/>
              <a:gd name="connsiteX513" fmla="*/ 1213829 w 1636453"/>
              <a:gd name="connsiteY513" fmla="*/ 467438 h 467438"/>
              <a:gd name="connsiteX514" fmla="*/ 1213828 w 1636453"/>
              <a:gd name="connsiteY514" fmla="*/ 467438 h 467438"/>
              <a:gd name="connsiteX515" fmla="*/ 1209766 w 1636453"/>
              <a:gd name="connsiteY515" fmla="*/ 467438 h 467438"/>
              <a:gd name="connsiteX516" fmla="*/ 1203730 w 1636453"/>
              <a:gd name="connsiteY516" fmla="*/ 467438 h 467438"/>
              <a:gd name="connsiteX517" fmla="*/ 1203728 w 1636453"/>
              <a:gd name="connsiteY517" fmla="*/ 467438 h 467438"/>
              <a:gd name="connsiteX518" fmla="*/ 1203718 w 1636453"/>
              <a:gd name="connsiteY518" fmla="*/ 467438 h 467438"/>
              <a:gd name="connsiteX519" fmla="*/ 1200689 w 1636453"/>
              <a:gd name="connsiteY519" fmla="*/ 467438 h 467438"/>
              <a:gd name="connsiteX520" fmla="*/ 1200687 w 1636453"/>
              <a:gd name="connsiteY520" fmla="*/ 467438 h 467438"/>
              <a:gd name="connsiteX521" fmla="*/ 1197371 w 1636453"/>
              <a:gd name="connsiteY521" fmla="*/ 467438 h 467438"/>
              <a:gd name="connsiteX522" fmla="*/ 1197369 w 1636453"/>
              <a:gd name="connsiteY522" fmla="*/ 467438 h 467438"/>
              <a:gd name="connsiteX523" fmla="*/ 1193364 w 1636453"/>
              <a:gd name="connsiteY523" fmla="*/ 467438 h 467438"/>
              <a:gd name="connsiteX524" fmla="*/ 1193361 w 1636453"/>
              <a:gd name="connsiteY524" fmla="*/ 467438 h 467438"/>
              <a:gd name="connsiteX525" fmla="*/ 1186665 w 1636453"/>
              <a:gd name="connsiteY525" fmla="*/ 467438 h 467438"/>
              <a:gd name="connsiteX526" fmla="*/ 1186664 w 1636453"/>
              <a:gd name="connsiteY526" fmla="*/ 467438 h 467438"/>
              <a:gd name="connsiteX527" fmla="*/ 1182658 w 1636453"/>
              <a:gd name="connsiteY527" fmla="*/ 467438 h 467438"/>
              <a:gd name="connsiteX528" fmla="*/ 1179341 w 1636453"/>
              <a:gd name="connsiteY528" fmla="*/ 467438 h 467438"/>
              <a:gd name="connsiteX529" fmla="*/ 1179340 w 1636453"/>
              <a:gd name="connsiteY529" fmla="*/ 467438 h 467438"/>
              <a:gd name="connsiteX530" fmla="*/ 1176310 w 1636453"/>
              <a:gd name="connsiteY530" fmla="*/ 467438 h 467438"/>
              <a:gd name="connsiteX531" fmla="*/ 1176308 w 1636453"/>
              <a:gd name="connsiteY531" fmla="*/ 467438 h 467438"/>
              <a:gd name="connsiteX532" fmla="*/ 1176299 w 1636453"/>
              <a:gd name="connsiteY532" fmla="*/ 467438 h 467438"/>
              <a:gd name="connsiteX533" fmla="*/ 1176298 w 1636453"/>
              <a:gd name="connsiteY533" fmla="*/ 467438 h 467438"/>
              <a:gd name="connsiteX534" fmla="*/ 1170262 w 1636453"/>
              <a:gd name="connsiteY534" fmla="*/ 467438 h 467438"/>
              <a:gd name="connsiteX535" fmla="*/ 1170261 w 1636453"/>
              <a:gd name="connsiteY535" fmla="*/ 467438 h 467438"/>
              <a:gd name="connsiteX536" fmla="*/ 1166200 w 1636453"/>
              <a:gd name="connsiteY536" fmla="*/ 467438 h 467438"/>
              <a:gd name="connsiteX537" fmla="*/ 1166198 w 1636453"/>
              <a:gd name="connsiteY537" fmla="*/ 467438 h 467438"/>
              <a:gd name="connsiteX538" fmla="*/ 1160153 w 1636453"/>
              <a:gd name="connsiteY538" fmla="*/ 467438 h 467438"/>
              <a:gd name="connsiteX539" fmla="*/ 1160150 w 1636453"/>
              <a:gd name="connsiteY539" fmla="*/ 467438 h 467438"/>
              <a:gd name="connsiteX540" fmla="*/ 1149135 w 1636453"/>
              <a:gd name="connsiteY540" fmla="*/ 467438 h 467438"/>
              <a:gd name="connsiteX541" fmla="*/ 1145128 w 1636453"/>
              <a:gd name="connsiteY541" fmla="*/ 467438 h 467438"/>
              <a:gd name="connsiteX542" fmla="*/ 1143099 w 1636453"/>
              <a:gd name="connsiteY542" fmla="*/ 467438 h 467438"/>
              <a:gd name="connsiteX543" fmla="*/ 1143097 w 1636453"/>
              <a:gd name="connsiteY543" fmla="*/ 467438 h 467438"/>
              <a:gd name="connsiteX544" fmla="*/ 1143088 w 1636453"/>
              <a:gd name="connsiteY544" fmla="*/ 467438 h 467438"/>
              <a:gd name="connsiteX545" fmla="*/ 1143087 w 1636453"/>
              <a:gd name="connsiteY545" fmla="*/ 467438 h 467438"/>
              <a:gd name="connsiteX546" fmla="*/ 1139092 w 1636453"/>
              <a:gd name="connsiteY546" fmla="*/ 467438 h 467438"/>
              <a:gd name="connsiteX547" fmla="*/ 1139090 w 1636453"/>
              <a:gd name="connsiteY547" fmla="*/ 467438 h 467438"/>
              <a:gd name="connsiteX548" fmla="*/ 1139080 w 1636453"/>
              <a:gd name="connsiteY548" fmla="*/ 467438 h 467438"/>
              <a:gd name="connsiteX549" fmla="*/ 1135774 w 1636453"/>
              <a:gd name="connsiteY549" fmla="*/ 467438 h 467438"/>
              <a:gd name="connsiteX550" fmla="*/ 1135772 w 1636453"/>
              <a:gd name="connsiteY550" fmla="*/ 467438 h 467438"/>
              <a:gd name="connsiteX551" fmla="*/ 1132733 w 1636453"/>
              <a:gd name="connsiteY551" fmla="*/ 467438 h 467438"/>
              <a:gd name="connsiteX552" fmla="*/ 1132731 w 1636453"/>
              <a:gd name="connsiteY552" fmla="*/ 467438 h 467438"/>
              <a:gd name="connsiteX553" fmla="*/ 1122027 w 1636453"/>
              <a:gd name="connsiteY553" fmla="*/ 467438 h 467438"/>
              <a:gd name="connsiteX554" fmla="*/ 1122026 w 1636453"/>
              <a:gd name="connsiteY554" fmla="*/ 467438 h 467438"/>
              <a:gd name="connsiteX555" fmla="*/ 1118710 w 1636453"/>
              <a:gd name="connsiteY555" fmla="*/ 467438 h 467438"/>
              <a:gd name="connsiteX556" fmla="*/ 1118709 w 1636453"/>
              <a:gd name="connsiteY556" fmla="*/ 467438 h 467438"/>
              <a:gd name="connsiteX557" fmla="*/ 1114703 w 1636453"/>
              <a:gd name="connsiteY557" fmla="*/ 467438 h 467438"/>
              <a:gd name="connsiteX558" fmla="*/ 1114702 w 1636453"/>
              <a:gd name="connsiteY558" fmla="*/ 467438 h 467438"/>
              <a:gd name="connsiteX559" fmla="*/ 1105570 w 1636453"/>
              <a:gd name="connsiteY559" fmla="*/ 467438 h 467438"/>
              <a:gd name="connsiteX560" fmla="*/ 1105568 w 1636453"/>
              <a:gd name="connsiteY560" fmla="*/ 467438 h 467438"/>
              <a:gd name="connsiteX561" fmla="*/ 1101562 w 1636453"/>
              <a:gd name="connsiteY561" fmla="*/ 467438 h 467438"/>
              <a:gd name="connsiteX562" fmla="*/ 1101560 w 1636453"/>
              <a:gd name="connsiteY562" fmla="*/ 467438 h 467438"/>
              <a:gd name="connsiteX563" fmla="*/ 1099523 w 1636453"/>
              <a:gd name="connsiteY563" fmla="*/ 467438 h 467438"/>
              <a:gd name="connsiteX564" fmla="*/ 1099520 w 1636453"/>
              <a:gd name="connsiteY564" fmla="*/ 467438 h 467438"/>
              <a:gd name="connsiteX565" fmla="*/ 1095515 w 1636453"/>
              <a:gd name="connsiteY565" fmla="*/ 467438 h 467438"/>
              <a:gd name="connsiteX566" fmla="*/ 1095512 w 1636453"/>
              <a:gd name="connsiteY566" fmla="*/ 467438 h 467438"/>
              <a:gd name="connsiteX567" fmla="*/ 1087539 w 1636453"/>
              <a:gd name="connsiteY567" fmla="*/ 467438 h 467438"/>
              <a:gd name="connsiteX568" fmla="*/ 1084497 w 1636453"/>
              <a:gd name="connsiteY568" fmla="*/ 467438 h 467438"/>
              <a:gd name="connsiteX569" fmla="*/ 1081492 w 1636453"/>
              <a:gd name="connsiteY569" fmla="*/ 467438 h 467438"/>
              <a:gd name="connsiteX570" fmla="*/ 1081491 w 1636453"/>
              <a:gd name="connsiteY570" fmla="*/ 467438 h 467438"/>
              <a:gd name="connsiteX571" fmla="*/ 1078461 w 1636453"/>
              <a:gd name="connsiteY571" fmla="*/ 467438 h 467438"/>
              <a:gd name="connsiteX572" fmla="*/ 1078459 w 1636453"/>
              <a:gd name="connsiteY572" fmla="*/ 467438 h 467438"/>
              <a:gd name="connsiteX573" fmla="*/ 1078450 w 1636453"/>
              <a:gd name="connsiteY573" fmla="*/ 467438 h 467438"/>
              <a:gd name="connsiteX574" fmla="*/ 1078449 w 1636453"/>
              <a:gd name="connsiteY574" fmla="*/ 467438 h 467438"/>
              <a:gd name="connsiteX575" fmla="*/ 1075143 w 1636453"/>
              <a:gd name="connsiteY575" fmla="*/ 467438 h 467438"/>
              <a:gd name="connsiteX576" fmla="*/ 1075142 w 1636453"/>
              <a:gd name="connsiteY576" fmla="*/ 467438 h 467438"/>
              <a:gd name="connsiteX577" fmla="*/ 1071136 w 1636453"/>
              <a:gd name="connsiteY577" fmla="*/ 467438 h 467438"/>
              <a:gd name="connsiteX578" fmla="*/ 1071134 w 1636453"/>
              <a:gd name="connsiteY578" fmla="*/ 467438 h 467438"/>
              <a:gd name="connsiteX579" fmla="*/ 1054072 w 1636453"/>
              <a:gd name="connsiteY579" fmla="*/ 467438 h 467438"/>
              <a:gd name="connsiteX580" fmla="*/ 1054071 w 1636453"/>
              <a:gd name="connsiteY580" fmla="*/ 467438 h 467438"/>
              <a:gd name="connsiteX581" fmla="*/ 1043973 w 1636453"/>
              <a:gd name="connsiteY581" fmla="*/ 467438 h 467438"/>
              <a:gd name="connsiteX582" fmla="*/ 1043971 w 1636453"/>
              <a:gd name="connsiteY582" fmla="*/ 467438 h 467438"/>
              <a:gd name="connsiteX583" fmla="*/ 1043961 w 1636453"/>
              <a:gd name="connsiteY583" fmla="*/ 467438 h 467438"/>
              <a:gd name="connsiteX584" fmla="*/ 1040932 w 1636453"/>
              <a:gd name="connsiteY584" fmla="*/ 467438 h 467438"/>
              <a:gd name="connsiteX585" fmla="*/ 1040930 w 1636453"/>
              <a:gd name="connsiteY585" fmla="*/ 467438 h 467438"/>
              <a:gd name="connsiteX586" fmla="*/ 1037926 w 1636453"/>
              <a:gd name="connsiteY586" fmla="*/ 467438 h 467438"/>
              <a:gd name="connsiteX587" fmla="*/ 1037923 w 1636453"/>
              <a:gd name="connsiteY587" fmla="*/ 467438 h 467438"/>
              <a:gd name="connsiteX588" fmla="*/ 1034885 w 1636453"/>
              <a:gd name="connsiteY588" fmla="*/ 467438 h 467438"/>
              <a:gd name="connsiteX589" fmla="*/ 1034882 w 1636453"/>
              <a:gd name="connsiteY589" fmla="*/ 467438 h 467438"/>
              <a:gd name="connsiteX590" fmla="*/ 1026908 w 1636453"/>
              <a:gd name="connsiteY590" fmla="*/ 467438 h 467438"/>
              <a:gd name="connsiteX591" fmla="*/ 1026907 w 1636453"/>
              <a:gd name="connsiteY591" fmla="*/ 467438 h 467438"/>
              <a:gd name="connsiteX592" fmla="*/ 1022901 w 1636453"/>
              <a:gd name="connsiteY592" fmla="*/ 467438 h 467438"/>
              <a:gd name="connsiteX593" fmla="*/ 1020861 w 1636453"/>
              <a:gd name="connsiteY593" fmla="*/ 467438 h 467438"/>
              <a:gd name="connsiteX594" fmla="*/ 1020860 w 1636453"/>
              <a:gd name="connsiteY594" fmla="*/ 467438 h 467438"/>
              <a:gd name="connsiteX595" fmla="*/ 1016854 w 1636453"/>
              <a:gd name="connsiteY595" fmla="*/ 467438 h 467438"/>
              <a:gd name="connsiteX596" fmla="*/ 1016853 w 1636453"/>
              <a:gd name="connsiteY596" fmla="*/ 467438 h 467438"/>
              <a:gd name="connsiteX597" fmla="*/ 1010505 w 1636453"/>
              <a:gd name="connsiteY597" fmla="*/ 467438 h 467438"/>
              <a:gd name="connsiteX598" fmla="*/ 1010504 w 1636453"/>
              <a:gd name="connsiteY598" fmla="*/ 467438 h 467438"/>
              <a:gd name="connsiteX599" fmla="*/ 1000396 w 1636453"/>
              <a:gd name="connsiteY599" fmla="*/ 467438 h 467438"/>
              <a:gd name="connsiteX600" fmla="*/ 1000393 w 1636453"/>
              <a:gd name="connsiteY600" fmla="*/ 467438 h 467438"/>
              <a:gd name="connsiteX601" fmla="*/ 983342 w 1636453"/>
              <a:gd name="connsiteY601" fmla="*/ 467438 h 467438"/>
              <a:gd name="connsiteX602" fmla="*/ 983340 w 1636453"/>
              <a:gd name="connsiteY602" fmla="*/ 467438 h 467438"/>
              <a:gd name="connsiteX603" fmla="*/ 983331 w 1636453"/>
              <a:gd name="connsiteY603" fmla="*/ 467438 h 467438"/>
              <a:gd name="connsiteX604" fmla="*/ 983330 w 1636453"/>
              <a:gd name="connsiteY604" fmla="*/ 467438 h 467438"/>
              <a:gd name="connsiteX605" fmla="*/ 979335 w 1636453"/>
              <a:gd name="connsiteY605" fmla="*/ 467438 h 467438"/>
              <a:gd name="connsiteX606" fmla="*/ 979333 w 1636453"/>
              <a:gd name="connsiteY606" fmla="*/ 467438 h 467438"/>
              <a:gd name="connsiteX607" fmla="*/ 979323 w 1636453"/>
              <a:gd name="connsiteY607" fmla="*/ 467438 h 467438"/>
              <a:gd name="connsiteX608" fmla="*/ 977295 w 1636453"/>
              <a:gd name="connsiteY608" fmla="*/ 467438 h 467438"/>
              <a:gd name="connsiteX609" fmla="*/ 977293 w 1636453"/>
              <a:gd name="connsiteY609" fmla="*/ 467438 h 467438"/>
              <a:gd name="connsiteX610" fmla="*/ 840249 w 1636453"/>
              <a:gd name="connsiteY610" fmla="*/ 467437 h 467438"/>
              <a:gd name="connsiteX611" fmla="*/ 840241 w 1636453"/>
              <a:gd name="connsiteY611" fmla="*/ 467438 h 467438"/>
              <a:gd name="connsiteX612" fmla="*/ 838212 w 1636453"/>
              <a:gd name="connsiteY612" fmla="*/ 467438 h 467438"/>
              <a:gd name="connsiteX613" fmla="*/ 838210 w 1636453"/>
              <a:gd name="connsiteY613" fmla="*/ 467438 h 467438"/>
              <a:gd name="connsiteX614" fmla="*/ 838201 w 1636453"/>
              <a:gd name="connsiteY614" fmla="*/ 467438 h 467438"/>
              <a:gd name="connsiteX615" fmla="*/ 838200 w 1636453"/>
              <a:gd name="connsiteY615" fmla="*/ 467438 h 467438"/>
              <a:gd name="connsiteX616" fmla="*/ 834205 w 1636453"/>
              <a:gd name="connsiteY616" fmla="*/ 467438 h 467438"/>
              <a:gd name="connsiteX617" fmla="*/ 834202 w 1636453"/>
              <a:gd name="connsiteY617" fmla="*/ 467438 h 467438"/>
              <a:gd name="connsiteX618" fmla="*/ 834193 w 1636453"/>
              <a:gd name="connsiteY618" fmla="*/ 467438 h 467438"/>
              <a:gd name="connsiteX619" fmla="*/ 817140 w 1636453"/>
              <a:gd name="connsiteY619" fmla="*/ 467438 h 467438"/>
              <a:gd name="connsiteX620" fmla="*/ 817139 w 1636453"/>
              <a:gd name="connsiteY620" fmla="*/ 467438 h 467438"/>
              <a:gd name="connsiteX621" fmla="*/ 807030 w 1636453"/>
              <a:gd name="connsiteY621" fmla="*/ 467438 h 467438"/>
              <a:gd name="connsiteX622" fmla="*/ 800683 w 1636453"/>
              <a:gd name="connsiteY622" fmla="*/ 467438 h 467438"/>
              <a:gd name="connsiteX623" fmla="*/ 800680 w 1636453"/>
              <a:gd name="connsiteY623" fmla="*/ 467438 h 467438"/>
              <a:gd name="connsiteX624" fmla="*/ 796675 w 1636453"/>
              <a:gd name="connsiteY624" fmla="*/ 467438 h 467438"/>
              <a:gd name="connsiteX625" fmla="*/ 796673 w 1636453"/>
              <a:gd name="connsiteY625" fmla="*/ 467438 h 467438"/>
              <a:gd name="connsiteX626" fmla="*/ 794635 w 1636453"/>
              <a:gd name="connsiteY626" fmla="*/ 467438 h 467438"/>
              <a:gd name="connsiteX627" fmla="*/ 794633 w 1636453"/>
              <a:gd name="connsiteY627" fmla="*/ 467438 h 467438"/>
              <a:gd name="connsiteX628" fmla="*/ 790628 w 1636453"/>
              <a:gd name="connsiteY628" fmla="*/ 467438 h 467438"/>
              <a:gd name="connsiteX629" fmla="*/ 790625 w 1636453"/>
              <a:gd name="connsiteY629" fmla="*/ 467438 h 467438"/>
              <a:gd name="connsiteX630" fmla="*/ 782652 w 1636453"/>
              <a:gd name="connsiteY630" fmla="*/ 467438 h 467438"/>
              <a:gd name="connsiteX631" fmla="*/ 782651 w 1636453"/>
              <a:gd name="connsiteY631" fmla="*/ 467438 h 467438"/>
              <a:gd name="connsiteX632" fmla="*/ 779610 w 1636453"/>
              <a:gd name="connsiteY632" fmla="*/ 467438 h 467438"/>
              <a:gd name="connsiteX633" fmla="*/ 779609 w 1636453"/>
              <a:gd name="connsiteY633" fmla="*/ 467438 h 467438"/>
              <a:gd name="connsiteX634" fmla="*/ 776605 w 1636453"/>
              <a:gd name="connsiteY634" fmla="*/ 467438 h 467438"/>
              <a:gd name="connsiteX635" fmla="*/ 776604 w 1636453"/>
              <a:gd name="connsiteY635" fmla="*/ 467438 h 467438"/>
              <a:gd name="connsiteX636" fmla="*/ 773574 w 1636453"/>
              <a:gd name="connsiteY636" fmla="*/ 467438 h 467438"/>
              <a:gd name="connsiteX637" fmla="*/ 773572 w 1636453"/>
              <a:gd name="connsiteY637" fmla="*/ 467438 h 467438"/>
              <a:gd name="connsiteX638" fmla="*/ 773563 w 1636453"/>
              <a:gd name="connsiteY638" fmla="*/ 467438 h 467438"/>
              <a:gd name="connsiteX639" fmla="*/ 773562 w 1636453"/>
              <a:gd name="connsiteY639" fmla="*/ 467438 h 467438"/>
              <a:gd name="connsiteX640" fmla="*/ 763464 w 1636453"/>
              <a:gd name="connsiteY640" fmla="*/ 467438 h 467438"/>
              <a:gd name="connsiteX641" fmla="*/ 763462 w 1636453"/>
              <a:gd name="connsiteY641" fmla="*/ 467438 h 467438"/>
              <a:gd name="connsiteX642" fmla="*/ 746399 w 1636453"/>
              <a:gd name="connsiteY642" fmla="*/ 467438 h 467438"/>
              <a:gd name="connsiteX643" fmla="*/ 742392 w 1636453"/>
              <a:gd name="connsiteY643" fmla="*/ 467438 h 467438"/>
              <a:gd name="connsiteX644" fmla="*/ 739086 w 1636453"/>
              <a:gd name="connsiteY644" fmla="*/ 467438 h 467438"/>
              <a:gd name="connsiteX645" fmla="*/ 739083 w 1636453"/>
              <a:gd name="connsiteY645" fmla="*/ 467438 h 467438"/>
              <a:gd name="connsiteX646" fmla="*/ 739074 w 1636453"/>
              <a:gd name="connsiteY646" fmla="*/ 467438 h 467438"/>
              <a:gd name="connsiteX647" fmla="*/ 736045 w 1636453"/>
              <a:gd name="connsiteY647" fmla="*/ 467438 h 467438"/>
              <a:gd name="connsiteX648" fmla="*/ 736042 w 1636453"/>
              <a:gd name="connsiteY648" fmla="*/ 467438 h 467438"/>
              <a:gd name="connsiteX649" fmla="*/ 733038 w 1636453"/>
              <a:gd name="connsiteY649" fmla="*/ 467438 h 467438"/>
              <a:gd name="connsiteX650" fmla="*/ 733036 w 1636453"/>
              <a:gd name="connsiteY650" fmla="*/ 467438 h 467438"/>
              <a:gd name="connsiteX651" fmla="*/ 729997 w 1636453"/>
              <a:gd name="connsiteY651" fmla="*/ 467438 h 467438"/>
              <a:gd name="connsiteX652" fmla="*/ 729995 w 1636453"/>
              <a:gd name="connsiteY652" fmla="*/ 467438 h 467438"/>
              <a:gd name="connsiteX653" fmla="*/ 722021 w 1636453"/>
              <a:gd name="connsiteY653" fmla="*/ 467438 h 467438"/>
              <a:gd name="connsiteX654" fmla="*/ 722020 w 1636453"/>
              <a:gd name="connsiteY654" fmla="*/ 467438 h 467438"/>
              <a:gd name="connsiteX655" fmla="*/ 718014 w 1636453"/>
              <a:gd name="connsiteY655" fmla="*/ 467438 h 467438"/>
              <a:gd name="connsiteX656" fmla="*/ 718013 w 1636453"/>
              <a:gd name="connsiteY656" fmla="*/ 467438 h 467438"/>
              <a:gd name="connsiteX657" fmla="*/ 715974 w 1636453"/>
              <a:gd name="connsiteY657" fmla="*/ 467438 h 467438"/>
              <a:gd name="connsiteX658" fmla="*/ 715973 w 1636453"/>
              <a:gd name="connsiteY658" fmla="*/ 467438 h 467438"/>
              <a:gd name="connsiteX659" fmla="*/ 711967 w 1636453"/>
              <a:gd name="connsiteY659" fmla="*/ 467438 h 467438"/>
              <a:gd name="connsiteX660" fmla="*/ 711966 w 1636453"/>
              <a:gd name="connsiteY660" fmla="*/ 467438 h 467438"/>
              <a:gd name="connsiteX661" fmla="*/ 702834 w 1636453"/>
              <a:gd name="connsiteY661" fmla="*/ 467438 h 467438"/>
              <a:gd name="connsiteX662" fmla="*/ 702832 w 1636453"/>
              <a:gd name="connsiteY662" fmla="*/ 467438 h 467438"/>
              <a:gd name="connsiteX663" fmla="*/ 698826 w 1636453"/>
              <a:gd name="connsiteY663" fmla="*/ 467438 h 467438"/>
              <a:gd name="connsiteX664" fmla="*/ 698824 w 1636453"/>
              <a:gd name="connsiteY664" fmla="*/ 467438 h 467438"/>
              <a:gd name="connsiteX665" fmla="*/ 695509 w 1636453"/>
              <a:gd name="connsiteY665" fmla="*/ 467438 h 467438"/>
              <a:gd name="connsiteX666" fmla="*/ 695506 w 1636453"/>
              <a:gd name="connsiteY666" fmla="*/ 467438 h 467438"/>
              <a:gd name="connsiteX667" fmla="*/ 684803 w 1636453"/>
              <a:gd name="connsiteY667" fmla="*/ 467438 h 467438"/>
              <a:gd name="connsiteX668" fmla="*/ 681761 w 1636453"/>
              <a:gd name="connsiteY668" fmla="*/ 467438 h 467438"/>
              <a:gd name="connsiteX669" fmla="*/ 678455 w 1636453"/>
              <a:gd name="connsiteY669" fmla="*/ 467438 h 467438"/>
              <a:gd name="connsiteX670" fmla="*/ 678453 w 1636453"/>
              <a:gd name="connsiteY670" fmla="*/ 467438 h 467438"/>
              <a:gd name="connsiteX671" fmla="*/ 678444 w 1636453"/>
              <a:gd name="connsiteY671" fmla="*/ 467438 h 467438"/>
              <a:gd name="connsiteX672" fmla="*/ 678443 w 1636453"/>
              <a:gd name="connsiteY672" fmla="*/ 467438 h 467438"/>
              <a:gd name="connsiteX673" fmla="*/ 674448 w 1636453"/>
              <a:gd name="connsiteY673" fmla="*/ 467438 h 467438"/>
              <a:gd name="connsiteX674" fmla="*/ 674445 w 1636453"/>
              <a:gd name="connsiteY674" fmla="*/ 467438 h 467438"/>
              <a:gd name="connsiteX675" fmla="*/ 674436 w 1636453"/>
              <a:gd name="connsiteY675" fmla="*/ 467438 h 467438"/>
              <a:gd name="connsiteX676" fmla="*/ 672407 w 1636453"/>
              <a:gd name="connsiteY676" fmla="*/ 467438 h 467438"/>
              <a:gd name="connsiteX677" fmla="*/ 672406 w 1636453"/>
              <a:gd name="connsiteY677" fmla="*/ 467438 h 467438"/>
              <a:gd name="connsiteX678" fmla="*/ 668400 w 1636453"/>
              <a:gd name="connsiteY678" fmla="*/ 467438 h 467438"/>
              <a:gd name="connsiteX679" fmla="*/ 668398 w 1636453"/>
              <a:gd name="connsiteY679" fmla="*/ 467438 h 467438"/>
              <a:gd name="connsiteX680" fmla="*/ 657383 w 1636453"/>
              <a:gd name="connsiteY680" fmla="*/ 467438 h 467438"/>
              <a:gd name="connsiteX681" fmla="*/ 657382 w 1636453"/>
              <a:gd name="connsiteY681" fmla="*/ 467438 h 467438"/>
              <a:gd name="connsiteX682" fmla="*/ 651336 w 1636453"/>
              <a:gd name="connsiteY682" fmla="*/ 467438 h 467438"/>
              <a:gd name="connsiteX683" fmla="*/ 651335 w 1636453"/>
              <a:gd name="connsiteY683" fmla="*/ 467438 h 467438"/>
              <a:gd name="connsiteX684" fmla="*/ 647273 w 1636453"/>
              <a:gd name="connsiteY684" fmla="*/ 467438 h 467438"/>
              <a:gd name="connsiteX685" fmla="*/ 641237 w 1636453"/>
              <a:gd name="connsiteY685" fmla="*/ 467438 h 467438"/>
              <a:gd name="connsiteX686" fmla="*/ 641235 w 1636453"/>
              <a:gd name="connsiteY686" fmla="*/ 467438 h 467438"/>
              <a:gd name="connsiteX687" fmla="*/ 641225 w 1636453"/>
              <a:gd name="connsiteY687" fmla="*/ 467438 h 467438"/>
              <a:gd name="connsiteX688" fmla="*/ 638196 w 1636453"/>
              <a:gd name="connsiteY688" fmla="*/ 467438 h 467438"/>
              <a:gd name="connsiteX689" fmla="*/ 638194 w 1636453"/>
              <a:gd name="connsiteY689" fmla="*/ 467438 h 467438"/>
              <a:gd name="connsiteX690" fmla="*/ 634878 w 1636453"/>
              <a:gd name="connsiteY690" fmla="*/ 467438 h 467438"/>
              <a:gd name="connsiteX691" fmla="*/ 634876 w 1636453"/>
              <a:gd name="connsiteY691" fmla="*/ 467438 h 467438"/>
              <a:gd name="connsiteX692" fmla="*/ 630871 w 1636453"/>
              <a:gd name="connsiteY692" fmla="*/ 467438 h 467438"/>
              <a:gd name="connsiteX693" fmla="*/ 630868 w 1636453"/>
              <a:gd name="connsiteY693" fmla="*/ 467438 h 467438"/>
              <a:gd name="connsiteX694" fmla="*/ 624172 w 1636453"/>
              <a:gd name="connsiteY694" fmla="*/ 467438 h 467438"/>
              <a:gd name="connsiteX695" fmla="*/ 624171 w 1636453"/>
              <a:gd name="connsiteY695" fmla="*/ 467438 h 467438"/>
              <a:gd name="connsiteX696" fmla="*/ 620165 w 1636453"/>
              <a:gd name="connsiteY696" fmla="*/ 467438 h 467438"/>
              <a:gd name="connsiteX697" fmla="*/ 616848 w 1636453"/>
              <a:gd name="connsiteY697" fmla="*/ 467438 h 467438"/>
              <a:gd name="connsiteX698" fmla="*/ 616847 w 1636453"/>
              <a:gd name="connsiteY698" fmla="*/ 467438 h 467438"/>
              <a:gd name="connsiteX699" fmla="*/ 613817 w 1636453"/>
              <a:gd name="connsiteY699" fmla="*/ 467438 h 467438"/>
              <a:gd name="connsiteX700" fmla="*/ 613815 w 1636453"/>
              <a:gd name="connsiteY700" fmla="*/ 467438 h 467438"/>
              <a:gd name="connsiteX701" fmla="*/ 613806 w 1636453"/>
              <a:gd name="connsiteY701" fmla="*/ 467438 h 467438"/>
              <a:gd name="connsiteX702" fmla="*/ 613805 w 1636453"/>
              <a:gd name="connsiteY702" fmla="*/ 467438 h 467438"/>
              <a:gd name="connsiteX703" fmla="*/ 607769 w 1636453"/>
              <a:gd name="connsiteY703" fmla="*/ 467438 h 467438"/>
              <a:gd name="connsiteX704" fmla="*/ 607768 w 1636453"/>
              <a:gd name="connsiteY704" fmla="*/ 467438 h 467438"/>
              <a:gd name="connsiteX705" fmla="*/ 603707 w 1636453"/>
              <a:gd name="connsiteY705" fmla="*/ 467438 h 467438"/>
              <a:gd name="connsiteX706" fmla="*/ 603705 w 1636453"/>
              <a:gd name="connsiteY706" fmla="*/ 467438 h 467438"/>
              <a:gd name="connsiteX707" fmla="*/ 597660 w 1636453"/>
              <a:gd name="connsiteY707" fmla="*/ 467438 h 467438"/>
              <a:gd name="connsiteX708" fmla="*/ 597657 w 1636453"/>
              <a:gd name="connsiteY708" fmla="*/ 467438 h 467438"/>
              <a:gd name="connsiteX709" fmla="*/ 586642 w 1636453"/>
              <a:gd name="connsiteY709" fmla="*/ 467438 h 467438"/>
              <a:gd name="connsiteX710" fmla="*/ 582635 w 1636453"/>
              <a:gd name="connsiteY710" fmla="*/ 467438 h 467438"/>
              <a:gd name="connsiteX711" fmla="*/ 580606 w 1636453"/>
              <a:gd name="connsiteY711" fmla="*/ 467438 h 467438"/>
              <a:gd name="connsiteX712" fmla="*/ 580604 w 1636453"/>
              <a:gd name="connsiteY712" fmla="*/ 467438 h 467438"/>
              <a:gd name="connsiteX713" fmla="*/ 580595 w 1636453"/>
              <a:gd name="connsiteY713" fmla="*/ 467438 h 467438"/>
              <a:gd name="connsiteX714" fmla="*/ 580594 w 1636453"/>
              <a:gd name="connsiteY714" fmla="*/ 467438 h 467438"/>
              <a:gd name="connsiteX715" fmla="*/ 576599 w 1636453"/>
              <a:gd name="connsiteY715" fmla="*/ 467438 h 467438"/>
              <a:gd name="connsiteX716" fmla="*/ 576597 w 1636453"/>
              <a:gd name="connsiteY716" fmla="*/ 467438 h 467438"/>
              <a:gd name="connsiteX717" fmla="*/ 576587 w 1636453"/>
              <a:gd name="connsiteY717" fmla="*/ 467438 h 467438"/>
              <a:gd name="connsiteX718" fmla="*/ 573281 w 1636453"/>
              <a:gd name="connsiteY718" fmla="*/ 467438 h 467438"/>
              <a:gd name="connsiteX719" fmla="*/ 573279 w 1636453"/>
              <a:gd name="connsiteY719" fmla="*/ 467438 h 467438"/>
              <a:gd name="connsiteX720" fmla="*/ 570240 w 1636453"/>
              <a:gd name="connsiteY720" fmla="*/ 467438 h 467438"/>
              <a:gd name="connsiteX721" fmla="*/ 570238 w 1636453"/>
              <a:gd name="connsiteY721" fmla="*/ 467438 h 467438"/>
              <a:gd name="connsiteX722" fmla="*/ 559534 w 1636453"/>
              <a:gd name="connsiteY722" fmla="*/ 467438 h 467438"/>
              <a:gd name="connsiteX723" fmla="*/ 559533 w 1636453"/>
              <a:gd name="connsiteY723" fmla="*/ 467438 h 467438"/>
              <a:gd name="connsiteX724" fmla="*/ 556217 w 1636453"/>
              <a:gd name="connsiteY724" fmla="*/ 467438 h 467438"/>
              <a:gd name="connsiteX725" fmla="*/ 556216 w 1636453"/>
              <a:gd name="connsiteY725" fmla="*/ 467438 h 467438"/>
              <a:gd name="connsiteX726" fmla="*/ 552210 w 1636453"/>
              <a:gd name="connsiteY726" fmla="*/ 467438 h 467438"/>
              <a:gd name="connsiteX727" fmla="*/ 552209 w 1636453"/>
              <a:gd name="connsiteY727" fmla="*/ 467438 h 467438"/>
              <a:gd name="connsiteX728" fmla="*/ 543077 w 1636453"/>
              <a:gd name="connsiteY728" fmla="*/ 467438 h 467438"/>
              <a:gd name="connsiteX729" fmla="*/ 543075 w 1636453"/>
              <a:gd name="connsiteY729" fmla="*/ 467438 h 467438"/>
              <a:gd name="connsiteX730" fmla="*/ 539069 w 1636453"/>
              <a:gd name="connsiteY730" fmla="*/ 467438 h 467438"/>
              <a:gd name="connsiteX731" fmla="*/ 539067 w 1636453"/>
              <a:gd name="connsiteY731" fmla="*/ 467438 h 467438"/>
              <a:gd name="connsiteX732" fmla="*/ 537030 w 1636453"/>
              <a:gd name="connsiteY732" fmla="*/ 467438 h 467438"/>
              <a:gd name="connsiteX733" fmla="*/ 537027 w 1636453"/>
              <a:gd name="connsiteY733" fmla="*/ 467438 h 467438"/>
              <a:gd name="connsiteX734" fmla="*/ 533022 w 1636453"/>
              <a:gd name="connsiteY734" fmla="*/ 467438 h 467438"/>
              <a:gd name="connsiteX735" fmla="*/ 533019 w 1636453"/>
              <a:gd name="connsiteY735" fmla="*/ 467438 h 467438"/>
              <a:gd name="connsiteX736" fmla="*/ 525046 w 1636453"/>
              <a:gd name="connsiteY736" fmla="*/ 467438 h 467438"/>
              <a:gd name="connsiteX737" fmla="*/ 522004 w 1636453"/>
              <a:gd name="connsiteY737" fmla="*/ 467438 h 467438"/>
              <a:gd name="connsiteX738" fmla="*/ 518999 w 1636453"/>
              <a:gd name="connsiteY738" fmla="*/ 467438 h 467438"/>
              <a:gd name="connsiteX739" fmla="*/ 518998 w 1636453"/>
              <a:gd name="connsiteY739" fmla="*/ 467438 h 467438"/>
              <a:gd name="connsiteX740" fmla="*/ 515968 w 1636453"/>
              <a:gd name="connsiteY740" fmla="*/ 467438 h 467438"/>
              <a:gd name="connsiteX741" fmla="*/ 515966 w 1636453"/>
              <a:gd name="connsiteY741" fmla="*/ 467438 h 467438"/>
              <a:gd name="connsiteX742" fmla="*/ 515957 w 1636453"/>
              <a:gd name="connsiteY742" fmla="*/ 467438 h 467438"/>
              <a:gd name="connsiteX743" fmla="*/ 515956 w 1636453"/>
              <a:gd name="connsiteY743" fmla="*/ 467438 h 467438"/>
              <a:gd name="connsiteX744" fmla="*/ 512650 w 1636453"/>
              <a:gd name="connsiteY744" fmla="*/ 467438 h 467438"/>
              <a:gd name="connsiteX745" fmla="*/ 512649 w 1636453"/>
              <a:gd name="connsiteY745" fmla="*/ 467438 h 467438"/>
              <a:gd name="connsiteX746" fmla="*/ 508643 w 1636453"/>
              <a:gd name="connsiteY746" fmla="*/ 467438 h 467438"/>
              <a:gd name="connsiteX747" fmla="*/ 508641 w 1636453"/>
              <a:gd name="connsiteY747" fmla="*/ 467438 h 467438"/>
              <a:gd name="connsiteX748" fmla="*/ 491579 w 1636453"/>
              <a:gd name="connsiteY748" fmla="*/ 467438 h 467438"/>
              <a:gd name="connsiteX749" fmla="*/ 491578 w 1636453"/>
              <a:gd name="connsiteY749" fmla="*/ 467438 h 467438"/>
              <a:gd name="connsiteX750" fmla="*/ 481480 w 1636453"/>
              <a:gd name="connsiteY750" fmla="*/ 467438 h 467438"/>
              <a:gd name="connsiteX751" fmla="*/ 481478 w 1636453"/>
              <a:gd name="connsiteY751" fmla="*/ 467438 h 467438"/>
              <a:gd name="connsiteX752" fmla="*/ 481468 w 1636453"/>
              <a:gd name="connsiteY752" fmla="*/ 467438 h 467438"/>
              <a:gd name="connsiteX753" fmla="*/ 478439 w 1636453"/>
              <a:gd name="connsiteY753" fmla="*/ 467438 h 467438"/>
              <a:gd name="connsiteX754" fmla="*/ 478437 w 1636453"/>
              <a:gd name="connsiteY754" fmla="*/ 467438 h 467438"/>
              <a:gd name="connsiteX755" fmla="*/ 475433 w 1636453"/>
              <a:gd name="connsiteY755" fmla="*/ 467438 h 467438"/>
              <a:gd name="connsiteX756" fmla="*/ 475430 w 1636453"/>
              <a:gd name="connsiteY756" fmla="*/ 467438 h 467438"/>
              <a:gd name="connsiteX757" fmla="*/ 472392 w 1636453"/>
              <a:gd name="connsiteY757" fmla="*/ 467438 h 467438"/>
              <a:gd name="connsiteX758" fmla="*/ 472389 w 1636453"/>
              <a:gd name="connsiteY758" fmla="*/ 467438 h 467438"/>
              <a:gd name="connsiteX759" fmla="*/ 464415 w 1636453"/>
              <a:gd name="connsiteY759" fmla="*/ 467438 h 467438"/>
              <a:gd name="connsiteX760" fmla="*/ 464414 w 1636453"/>
              <a:gd name="connsiteY760" fmla="*/ 467438 h 467438"/>
              <a:gd name="connsiteX761" fmla="*/ 460408 w 1636453"/>
              <a:gd name="connsiteY761" fmla="*/ 467438 h 467438"/>
              <a:gd name="connsiteX762" fmla="*/ 458368 w 1636453"/>
              <a:gd name="connsiteY762" fmla="*/ 467438 h 467438"/>
              <a:gd name="connsiteX763" fmla="*/ 458367 w 1636453"/>
              <a:gd name="connsiteY763" fmla="*/ 467438 h 467438"/>
              <a:gd name="connsiteX764" fmla="*/ 454361 w 1636453"/>
              <a:gd name="connsiteY764" fmla="*/ 467438 h 467438"/>
              <a:gd name="connsiteX765" fmla="*/ 454360 w 1636453"/>
              <a:gd name="connsiteY765" fmla="*/ 467438 h 467438"/>
              <a:gd name="connsiteX766" fmla="*/ 448012 w 1636453"/>
              <a:gd name="connsiteY766" fmla="*/ 467438 h 467438"/>
              <a:gd name="connsiteX767" fmla="*/ 448011 w 1636453"/>
              <a:gd name="connsiteY767" fmla="*/ 467438 h 467438"/>
              <a:gd name="connsiteX768" fmla="*/ 437903 w 1636453"/>
              <a:gd name="connsiteY768" fmla="*/ 467438 h 467438"/>
              <a:gd name="connsiteX769" fmla="*/ 437900 w 1636453"/>
              <a:gd name="connsiteY769" fmla="*/ 467438 h 467438"/>
              <a:gd name="connsiteX770" fmla="*/ 420849 w 1636453"/>
              <a:gd name="connsiteY770" fmla="*/ 467438 h 467438"/>
              <a:gd name="connsiteX771" fmla="*/ 420847 w 1636453"/>
              <a:gd name="connsiteY771" fmla="*/ 467438 h 467438"/>
              <a:gd name="connsiteX772" fmla="*/ 420838 w 1636453"/>
              <a:gd name="connsiteY772" fmla="*/ 467438 h 467438"/>
              <a:gd name="connsiteX773" fmla="*/ 420837 w 1636453"/>
              <a:gd name="connsiteY773" fmla="*/ 467438 h 467438"/>
              <a:gd name="connsiteX774" fmla="*/ 416842 w 1636453"/>
              <a:gd name="connsiteY774" fmla="*/ 467438 h 467438"/>
              <a:gd name="connsiteX775" fmla="*/ 416840 w 1636453"/>
              <a:gd name="connsiteY775" fmla="*/ 467438 h 467438"/>
              <a:gd name="connsiteX776" fmla="*/ 416830 w 1636453"/>
              <a:gd name="connsiteY776" fmla="*/ 467438 h 467438"/>
              <a:gd name="connsiteX777" fmla="*/ 414802 w 1636453"/>
              <a:gd name="connsiteY777" fmla="*/ 467438 h 467438"/>
              <a:gd name="connsiteX778" fmla="*/ 414800 w 1636453"/>
              <a:gd name="connsiteY778" fmla="*/ 467438 h 467438"/>
              <a:gd name="connsiteX779" fmla="*/ 233720 w 1636453"/>
              <a:gd name="connsiteY779" fmla="*/ 467437 h 467438"/>
              <a:gd name="connsiteX780" fmla="*/ 4748 w 1636453"/>
              <a:gd name="connsiteY780" fmla="*/ 280821 h 467438"/>
              <a:gd name="connsiteX781" fmla="*/ 0 w 1636453"/>
              <a:gd name="connsiteY781" fmla="*/ 233720 h 467438"/>
              <a:gd name="connsiteX782" fmla="*/ 4748 w 1636453"/>
              <a:gd name="connsiteY782" fmla="*/ 186617 h 467438"/>
              <a:gd name="connsiteX783" fmla="*/ 233720 w 1636453"/>
              <a:gd name="connsiteY783" fmla="*/ 0 h 467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</a:cxnLst>
            <a:rect l="l" t="t" r="r" b="b"/>
            <a:pathLst>
              <a:path w="1636453" h="467438">
                <a:moveTo>
                  <a:pt x="233720" y="0"/>
                </a:moveTo>
                <a:lnTo>
                  <a:pt x="233973" y="0"/>
                </a:lnTo>
                <a:lnTo>
                  <a:pt x="235750" y="0"/>
                </a:lnTo>
                <a:lnTo>
                  <a:pt x="235759" y="0"/>
                </a:lnTo>
                <a:lnTo>
                  <a:pt x="239757" y="0"/>
                </a:lnTo>
                <a:lnTo>
                  <a:pt x="239767" y="0"/>
                </a:lnTo>
                <a:lnTo>
                  <a:pt x="251036" y="0"/>
                </a:lnTo>
                <a:lnTo>
                  <a:pt x="255044" y="0"/>
                </a:lnTo>
                <a:lnTo>
                  <a:pt x="256820" y="0"/>
                </a:lnTo>
                <a:lnTo>
                  <a:pt x="266930" y="0"/>
                </a:lnTo>
                <a:lnTo>
                  <a:pt x="273280" y="0"/>
                </a:lnTo>
                <a:lnTo>
                  <a:pt x="277287" y="0"/>
                </a:lnTo>
                <a:lnTo>
                  <a:pt x="279327" y="0"/>
                </a:lnTo>
                <a:lnTo>
                  <a:pt x="283334" y="0"/>
                </a:lnTo>
                <a:lnTo>
                  <a:pt x="291309" y="0"/>
                </a:lnTo>
                <a:lnTo>
                  <a:pt x="294350" y="0"/>
                </a:lnTo>
                <a:lnTo>
                  <a:pt x="294604" y="0"/>
                </a:lnTo>
                <a:lnTo>
                  <a:pt x="297356" y="0"/>
                </a:lnTo>
                <a:lnTo>
                  <a:pt x="298611" y="0"/>
                </a:lnTo>
                <a:lnTo>
                  <a:pt x="300388" y="0"/>
                </a:lnTo>
                <a:lnTo>
                  <a:pt x="300397" y="0"/>
                </a:lnTo>
                <a:lnTo>
                  <a:pt x="310497" y="0"/>
                </a:lnTo>
                <a:lnTo>
                  <a:pt x="312633" y="0"/>
                </a:lnTo>
                <a:lnTo>
                  <a:pt x="315674" y="0"/>
                </a:lnTo>
                <a:lnTo>
                  <a:pt x="327561" y="0"/>
                </a:lnTo>
                <a:lnTo>
                  <a:pt x="331568" y="0"/>
                </a:lnTo>
                <a:lnTo>
                  <a:pt x="334876" y="0"/>
                </a:lnTo>
                <a:lnTo>
                  <a:pt x="334886" y="0"/>
                </a:lnTo>
                <a:lnTo>
                  <a:pt x="337918" y="0"/>
                </a:lnTo>
                <a:lnTo>
                  <a:pt x="340923" y="0"/>
                </a:lnTo>
                <a:lnTo>
                  <a:pt x="343965" y="0"/>
                </a:lnTo>
                <a:lnTo>
                  <a:pt x="350163" y="0"/>
                </a:lnTo>
                <a:lnTo>
                  <a:pt x="351939" y="0"/>
                </a:lnTo>
                <a:lnTo>
                  <a:pt x="355947" y="0"/>
                </a:lnTo>
                <a:lnTo>
                  <a:pt x="356200" y="0"/>
                </a:lnTo>
                <a:lnTo>
                  <a:pt x="356210" y="0"/>
                </a:lnTo>
                <a:lnTo>
                  <a:pt x="357987" y="0"/>
                </a:lnTo>
                <a:lnTo>
                  <a:pt x="359242" y="0"/>
                </a:lnTo>
                <a:lnTo>
                  <a:pt x="361994" y="0"/>
                </a:lnTo>
                <a:lnTo>
                  <a:pt x="371129" y="0"/>
                </a:lnTo>
                <a:lnTo>
                  <a:pt x="373263" y="0"/>
                </a:lnTo>
                <a:lnTo>
                  <a:pt x="375135" y="0"/>
                </a:lnTo>
                <a:lnTo>
                  <a:pt x="377271" y="0"/>
                </a:lnTo>
                <a:lnTo>
                  <a:pt x="378453" y="0"/>
                </a:lnTo>
                <a:lnTo>
                  <a:pt x="389158" y="0"/>
                </a:lnTo>
                <a:lnTo>
                  <a:pt x="392199" y="0"/>
                </a:lnTo>
                <a:lnTo>
                  <a:pt x="393730" y="0"/>
                </a:lnTo>
                <a:lnTo>
                  <a:pt x="395507" y="0"/>
                </a:lnTo>
                <a:lnTo>
                  <a:pt x="395516" y="0"/>
                </a:lnTo>
                <a:lnTo>
                  <a:pt x="399514" y="0"/>
                </a:lnTo>
                <a:lnTo>
                  <a:pt x="399524" y="0"/>
                </a:lnTo>
                <a:lnTo>
                  <a:pt x="399777" y="0"/>
                </a:lnTo>
                <a:lnTo>
                  <a:pt x="401555" y="0"/>
                </a:lnTo>
                <a:lnTo>
                  <a:pt x="405561" y="0"/>
                </a:lnTo>
                <a:lnTo>
                  <a:pt x="410793" y="0"/>
                </a:lnTo>
                <a:lnTo>
                  <a:pt x="414801" y="0"/>
                </a:lnTo>
                <a:lnTo>
                  <a:pt x="416577" y="0"/>
                </a:lnTo>
                <a:lnTo>
                  <a:pt x="416831" y="0"/>
                </a:lnTo>
                <a:lnTo>
                  <a:pt x="416840" y="0"/>
                </a:lnTo>
                <a:lnTo>
                  <a:pt x="420838" y="0"/>
                </a:lnTo>
                <a:lnTo>
                  <a:pt x="420848" y="0"/>
                </a:lnTo>
                <a:lnTo>
                  <a:pt x="422625" y="0"/>
                </a:lnTo>
                <a:lnTo>
                  <a:pt x="426687" y="0"/>
                </a:lnTo>
                <a:lnTo>
                  <a:pt x="432725" y="0"/>
                </a:lnTo>
                <a:lnTo>
                  <a:pt x="432735" y="0"/>
                </a:lnTo>
                <a:lnTo>
                  <a:pt x="435767" y="0"/>
                </a:lnTo>
                <a:lnTo>
                  <a:pt x="437901" y="0"/>
                </a:lnTo>
                <a:lnTo>
                  <a:pt x="439084" y="0"/>
                </a:lnTo>
                <a:lnTo>
                  <a:pt x="443091" y="0"/>
                </a:lnTo>
                <a:lnTo>
                  <a:pt x="448011" y="0"/>
                </a:lnTo>
                <a:lnTo>
                  <a:pt x="449788" y="0"/>
                </a:lnTo>
                <a:lnTo>
                  <a:pt x="453796" y="0"/>
                </a:lnTo>
                <a:lnTo>
                  <a:pt x="454361" y="0"/>
                </a:lnTo>
                <a:lnTo>
                  <a:pt x="457113" y="0"/>
                </a:lnTo>
                <a:lnTo>
                  <a:pt x="458368" y="0"/>
                </a:lnTo>
                <a:lnTo>
                  <a:pt x="460145" y="0"/>
                </a:lnTo>
                <a:lnTo>
                  <a:pt x="460154" y="0"/>
                </a:lnTo>
                <a:lnTo>
                  <a:pt x="460408" y="0"/>
                </a:lnTo>
                <a:lnTo>
                  <a:pt x="464415" y="0"/>
                </a:lnTo>
                <a:lnTo>
                  <a:pt x="466193" y="0"/>
                </a:lnTo>
                <a:lnTo>
                  <a:pt x="470254" y="0"/>
                </a:lnTo>
                <a:lnTo>
                  <a:pt x="472390" y="0"/>
                </a:lnTo>
                <a:lnTo>
                  <a:pt x="475431" y="0"/>
                </a:lnTo>
                <a:lnTo>
                  <a:pt x="476302" y="0"/>
                </a:lnTo>
                <a:lnTo>
                  <a:pt x="478437" y="0"/>
                </a:lnTo>
                <a:lnTo>
                  <a:pt x="481469" y="0"/>
                </a:lnTo>
                <a:lnTo>
                  <a:pt x="481478" y="0"/>
                </a:lnTo>
                <a:lnTo>
                  <a:pt x="487318" y="0"/>
                </a:lnTo>
                <a:lnTo>
                  <a:pt x="491325" y="0"/>
                </a:lnTo>
                <a:lnTo>
                  <a:pt x="491579" y="0"/>
                </a:lnTo>
                <a:lnTo>
                  <a:pt x="493356" y="0"/>
                </a:lnTo>
                <a:lnTo>
                  <a:pt x="493365" y="0"/>
                </a:lnTo>
                <a:lnTo>
                  <a:pt x="497363" y="0"/>
                </a:lnTo>
                <a:lnTo>
                  <a:pt x="497373" y="0"/>
                </a:lnTo>
                <a:lnTo>
                  <a:pt x="500680" y="0"/>
                </a:lnTo>
                <a:lnTo>
                  <a:pt x="503722" y="0"/>
                </a:lnTo>
                <a:lnTo>
                  <a:pt x="508642" y="0"/>
                </a:lnTo>
                <a:lnTo>
                  <a:pt x="512649" y="0"/>
                </a:lnTo>
                <a:lnTo>
                  <a:pt x="514426" y="0"/>
                </a:lnTo>
                <a:lnTo>
                  <a:pt x="515957" y="0"/>
                </a:lnTo>
                <a:lnTo>
                  <a:pt x="515967" y="0"/>
                </a:lnTo>
                <a:lnTo>
                  <a:pt x="517744" y="0"/>
                </a:lnTo>
                <a:lnTo>
                  <a:pt x="518999" y="0"/>
                </a:lnTo>
                <a:lnTo>
                  <a:pt x="521751" y="0"/>
                </a:lnTo>
                <a:lnTo>
                  <a:pt x="522004" y="0"/>
                </a:lnTo>
                <a:lnTo>
                  <a:pt x="525046" y="0"/>
                </a:lnTo>
                <a:lnTo>
                  <a:pt x="530886" y="0"/>
                </a:lnTo>
                <a:lnTo>
                  <a:pt x="533020" y="0"/>
                </a:lnTo>
                <a:lnTo>
                  <a:pt x="534892" y="0"/>
                </a:lnTo>
                <a:lnTo>
                  <a:pt x="536933" y="0"/>
                </a:lnTo>
                <a:lnTo>
                  <a:pt x="537028" y="0"/>
                </a:lnTo>
                <a:lnTo>
                  <a:pt x="539068" y="0"/>
                </a:lnTo>
                <a:lnTo>
                  <a:pt x="540940" y="0"/>
                </a:lnTo>
                <a:lnTo>
                  <a:pt x="543075" y="0"/>
                </a:lnTo>
                <a:lnTo>
                  <a:pt x="548915" y="0"/>
                </a:lnTo>
                <a:lnTo>
                  <a:pt x="551956" y="0"/>
                </a:lnTo>
                <a:lnTo>
                  <a:pt x="552210" y="0"/>
                </a:lnTo>
                <a:lnTo>
                  <a:pt x="554962" y="0"/>
                </a:lnTo>
                <a:lnTo>
                  <a:pt x="556217" y="0"/>
                </a:lnTo>
                <a:lnTo>
                  <a:pt x="557994" y="0"/>
                </a:lnTo>
                <a:lnTo>
                  <a:pt x="558003" y="0"/>
                </a:lnTo>
                <a:lnTo>
                  <a:pt x="559534" y="0"/>
                </a:lnTo>
                <a:lnTo>
                  <a:pt x="561312" y="0"/>
                </a:lnTo>
                <a:lnTo>
                  <a:pt x="565318" y="0"/>
                </a:lnTo>
                <a:lnTo>
                  <a:pt x="570239" y="0"/>
                </a:lnTo>
                <a:lnTo>
                  <a:pt x="573280" y="0"/>
                </a:lnTo>
                <a:lnTo>
                  <a:pt x="576588" y="0"/>
                </a:lnTo>
                <a:lnTo>
                  <a:pt x="576597" y="0"/>
                </a:lnTo>
                <a:lnTo>
                  <a:pt x="580595" y="0"/>
                </a:lnTo>
                <a:lnTo>
                  <a:pt x="580605" y="0"/>
                </a:lnTo>
                <a:lnTo>
                  <a:pt x="582382" y="0"/>
                </a:lnTo>
                <a:lnTo>
                  <a:pt x="582636" y="0"/>
                </a:lnTo>
                <a:lnTo>
                  <a:pt x="586642" y="0"/>
                </a:lnTo>
                <a:lnTo>
                  <a:pt x="592482" y="0"/>
                </a:lnTo>
                <a:lnTo>
                  <a:pt x="592492" y="0"/>
                </a:lnTo>
                <a:lnTo>
                  <a:pt x="595524" y="0"/>
                </a:lnTo>
                <a:lnTo>
                  <a:pt x="597658" y="0"/>
                </a:lnTo>
                <a:lnTo>
                  <a:pt x="598529" y="0"/>
                </a:lnTo>
                <a:lnTo>
                  <a:pt x="601571" y="0"/>
                </a:lnTo>
                <a:lnTo>
                  <a:pt x="603706" y="0"/>
                </a:lnTo>
                <a:lnTo>
                  <a:pt x="607768" y="0"/>
                </a:lnTo>
                <a:lnTo>
                  <a:pt x="609545" y="0"/>
                </a:lnTo>
                <a:lnTo>
                  <a:pt x="613553" y="0"/>
                </a:lnTo>
                <a:lnTo>
                  <a:pt x="613806" y="0"/>
                </a:lnTo>
                <a:lnTo>
                  <a:pt x="613816" y="0"/>
                </a:lnTo>
                <a:lnTo>
                  <a:pt x="615592" y="0"/>
                </a:lnTo>
                <a:lnTo>
                  <a:pt x="616848" y="0"/>
                </a:lnTo>
                <a:lnTo>
                  <a:pt x="619600" y="0"/>
                </a:lnTo>
                <a:lnTo>
                  <a:pt x="620165" y="0"/>
                </a:lnTo>
                <a:lnTo>
                  <a:pt x="624172" y="0"/>
                </a:lnTo>
                <a:lnTo>
                  <a:pt x="625950" y="0"/>
                </a:lnTo>
                <a:lnTo>
                  <a:pt x="630869" y="0"/>
                </a:lnTo>
                <a:lnTo>
                  <a:pt x="634877" y="0"/>
                </a:lnTo>
                <a:lnTo>
                  <a:pt x="636059" y="0"/>
                </a:lnTo>
                <a:lnTo>
                  <a:pt x="638194" y="0"/>
                </a:lnTo>
                <a:lnTo>
                  <a:pt x="641226" y="0"/>
                </a:lnTo>
                <a:lnTo>
                  <a:pt x="641235" y="0"/>
                </a:lnTo>
                <a:lnTo>
                  <a:pt x="647274" y="0"/>
                </a:lnTo>
                <a:lnTo>
                  <a:pt x="651336" y="0"/>
                </a:lnTo>
                <a:lnTo>
                  <a:pt x="653113" y="0"/>
                </a:lnTo>
                <a:lnTo>
                  <a:pt x="653122" y="0"/>
                </a:lnTo>
                <a:lnTo>
                  <a:pt x="657120" y="0"/>
                </a:lnTo>
                <a:lnTo>
                  <a:pt x="657130" y="0"/>
                </a:lnTo>
                <a:lnTo>
                  <a:pt x="657383" y="0"/>
                </a:lnTo>
                <a:lnTo>
                  <a:pt x="659160" y="0"/>
                </a:lnTo>
                <a:lnTo>
                  <a:pt x="663167" y="0"/>
                </a:lnTo>
                <a:lnTo>
                  <a:pt x="668399" y="0"/>
                </a:lnTo>
                <a:lnTo>
                  <a:pt x="672406" y="0"/>
                </a:lnTo>
                <a:lnTo>
                  <a:pt x="674183" y="0"/>
                </a:lnTo>
                <a:lnTo>
                  <a:pt x="674437" y="0"/>
                </a:lnTo>
                <a:lnTo>
                  <a:pt x="674446" y="0"/>
                </a:lnTo>
                <a:lnTo>
                  <a:pt x="678444" y="0"/>
                </a:lnTo>
                <a:lnTo>
                  <a:pt x="678454" y="0"/>
                </a:lnTo>
                <a:lnTo>
                  <a:pt x="680230" y="0"/>
                </a:lnTo>
                <a:lnTo>
                  <a:pt x="681761" y="0"/>
                </a:lnTo>
                <a:lnTo>
                  <a:pt x="684803" y="0"/>
                </a:lnTo>
                <a:lnTo>
                  <a:pt x="695507" y="0"/>
                </a:lnTo>
                <a:lnTo>
                  <a:pt x="696690" y="0"/>
                </a:lnTo>
                <a:lnTo>
                  <a:pt x="698825" y="0"/>
                </a:lnTo>
                <a:lnTo>
                  <a:pt x="700697" y="0"/>
                </a:lnTo>
                <a:lnTo>
                  <a:pt x="702832" y="0"/>
                </a:lnTo>
                <a:lnTo>
                  <a:pt x="711967" y="0"/>
                </a:lnTo>
                <a:lnTo>
                  <a:pt x="714719" y="0"/>
                </a:lnTo>
                <a:lnTo>
                  <a:pt x="715974" y="0"/>
                </a:lnTo>
                <a:lnTo>
                  <a:pt x="717751" y="0"/>
                </a:lnTo>
                <a:lnTo>
                  <a:pt x="717760" y="0"/>
                </a:lnTo>
                <a:lnTo>
                  <a:pt x="718014" y="0"/>
                </a:lnTo>
                <a:lnTo>
                  <a:pt x="722021" y="0"/>
                </a:lnTo>
                <a:lnTo>
                  <a:pt x="723798" y="0"/>
                </a:lnTo>
                <a:lnTo>
                  <a:pt x="729996" y="0"/>
                </a:lnTo>
                <a:lnTo>
                  <a:pt x="733037" y="0"/>
                </a:lnTo>
                <a:lnTo>
                  <a:pt x="736043" y="0"/>
                </a:lnTo>
                <a:lnTo>
                  <a:pt x="739075" y="0"/>
                </a:lnTo>
                <a:lnTo>
                  <a:pt x="739084" y="0"/>
                </a:lnTo>
                <a:lnTo>
                  <a:pt x="742393" y="0"/>
                </a:lnTo>
                <a:lnTo>
                  <a:pt x="746399" y="0"/>
                </a:lnTo>
                <a:lnTo>
                  <a:pt x="758286" y="0"/>
                </a:lnTo>
                <a:lnTo>
                  <a:pt x="761328" y="0"/>
                </a:lnTo>
                <a:lnTo>
                  <a:pt x="763463" y="0"/>
                </a:lnTo>
                <a:lnTo>
                  <a:pt x="773563" y="0"/>
                </a:lnTo>
                <a:lnTo>
                  <a:pt x="773573" y="0"/>
                </a:lnTo>
                <a:lnTo>
                  <a:pt x="775349" y="0"/>
                </a:lnTo>
                <a:lnTo>
                  <a:pt x="776605" y="0"/>
                </a:lnTo>
                <a:lnTo>
                  <a:pt x="779357" y="0"/>
                </a:lnTo>
                <a:lnTo>
                  <a:pt x="779610" y="0"/>
                </a:lnTo>
                <a:lnTo>
                  <a:pt x="782652" y="0"/>
                </a:lnTo>
                <a:lnTo>
                  <a:pt x="790626" y="0"/>
                </a:lnTo>
                <a:lnTo>
                  <a:pt x="794634" y="0"/>
                </a:lnTo>
                <a:lnTo>
                  <a:pt x="796213" y="0"/>
                </a:lnTo>
                <a:lnTo>
                  <a:pt x="796466" y="0"/>
                </a:lnTo>
                <a:lnTo>
                  <a:pt x="796673" y="0"/>
                </a:lnTo>
                <a:lnTo>
                  <a:pt x="798243" y="0"/>
                </a:lnTo>
                <a:lnTo>
                  <a:pt x="798252" y="0"/>
                </a:lnTo>
                <a:lnTo>
                  <a:pt x="800681" y="0"/>
                </a:lnTo>
                <a:lnTo>
                  <a:pt x="802250" y="0"/>
                </a:lnTo>
                <a:lnTo>
                  <a:pt x="802260" y="0"/>
                </a:lnTo>
                <a:lnTo>
                  <a:pt x="807031" y="0"/>
                </a:lnTo>
                <a:lnTo>
                  <a:pt x="813529" y="0"/>
                </a:lnTo>
                <a:lnTo>
                  <a:pt x="817140" y="0"/>
                </a:lnTo>
                <a:lnTo>
                  <a:pt x="817537" y="0"/>
                </a:lnTo>
                <a:lnTo>
                  <a:pt x="818917" y="0"/>
                </a:lnTo>
                <a:lnTo>
                  <a:pt x="819313" y="0"/>
                </a:lnTo>
                <a:lnTo>
                  <a:pt x="822924" y="0"/>
                </a:lnTo>
                <a:lnTo>
                  <a:pt x="829423" y="0"/>
                </a:lnTo>
                <a:lnTo>
                  <a:pt x="834194" y="0"/>
                </a:lnTo>
                <a:lnTo>
                  <a:pt x="834203" y="0"/>
                </a:lnTo>
                <a:lnTo>
                  <a:pt x="835773" y="0"/>
                </a:lnTo>
                <a:lnTo>
                  <a:pt x="838201" y="0"/>
                </a:lnTo>
                <a:lnTo>
                  <a:pt x="838211" y="0"/>
                </a:lnTo>
                <a:lnTo>
                  <a:pt x="839780" y="0"/>
                </a:lnTo>
                <a:lnTo>
                  <a:pt x="839987" y="0"/>
                </a:lnTo>
                <a:lnTo>
                  <a:pt x="840241" y="0"/>
                </a:lnTo>
                <a:lnTo>
                  <a:pt x="841820" y="0"/>
                </a:lnTo>
                <a:lnTo>
                  <a:pt x="845827" y="0"/>
                </a:lnTo>
                <a:lnTo>
                  <a:pt x="853802" y="0"/>
                </a:lnTo>
                <a:lnTo>
                  <a:pt x="856843" y="0"/>
                </a:lnTo>
                <a:lnTo>
                  <a:pt x="857097" y="0"/>
                </a:lnTo>
                <a:lnTo>
                  <a:pt x="859849" y="0"/>
                </a:lnTo>
                <a:lnTo>
                  <a:pt x="861104" y="0"/>
                </a:lnTo>
                <a:lnTo>
                  <a:pt x="862881" y="0"/>
                </a:lnTo>
                <a:lnTo>
                  <a:pt x="862890" y="0"/>
                </a:lnTo>
                <a:lnTo>
                  <a:pt x="872990" y="0"/>
                </a:lnTo>
                <a:lnTo>
                  <a:pt x="875126" y="0"/>
                </a:lnTo>
                <a:lnTo>
                  <a:pt x="878167" y="0"/>
                </a:lnTo>
                <a:lnTo>
                  <a:pt x="890054" y="0"/>
                </a:lnTo>
                <a:lnTo>
                  <a:pt x="894061" y="0"/>
                </a:lnTo>
                <a:lnTo>
                  <a:pt x="897369" y="0"/>
                </a:lnTo>
                <a:lnTo>
                  <a:pt x="897379" y="0"/>
                </a:lnTo>
                <a:lnTo>
                  <a:pt x="900411" y="0"/>
                </a:lnTo>
                <a:lnTo>
                  <a:pt x="903416" y="0"/>
                </a:lnTo>
                <a:lnTo>
                  <a:pt x="906458" y="0"/>
                </a:lnTo>
                <a:lnTo>
                  <a:pt x="912656" y="0"/>
                </a:lnTo>
                <a:lnTo>
                  <a:pt x="914432" y="0"/>
                </a:lnTo>
                <a:lnTo>
                  <a:pt x="918440" y="0"/>
                </a:lnTo>
                <a:lnTo>
                  <a:pt x="918693" y="0"/>
                </a:lnTo>
                <a:lnTo>
                  <a:pt x="918703" y="0"/>
                </a:lnTo>
                <a:lnTo>
                  <a:pt x="920480" y="0"/>
                </a:lnTo>
                <a:lnTo>
                  <a:pt x="921735" y="0"/>
                </a:lnTo>
                <a:lnTo>
                  <a:pt x="924487" y="0"/>
                </a:lnTo>
                <a:lnTo>
                  <a:pt x="933622" y="0"/>
                </a:lnTo>
                <a:lnTo>
                  <a:pt x="935756" y="0"/>
                </a:lnTo>
                <a:lnTo>
                  <a:pt x="937628" y="0"/>
                </a:lnTo>
                <a:lnTo>
                  <a:pt x="939764" y="0"/>
                </a:lnTo>
                <a:lnTo>
                  <a:pt x="940946" y="0"/>
                </a:lnTo>
                <a:lnTo>
                  <a:pt x="951651" y="0"/>
                </a:lnTo>
                <a:lnTo>
                  <a:pt x="954692" y="0"/>
                </a:lnTo>
                <a:lnTo>
                  <a:pt x="956223" y="0"/>
                </a:lnTo>
                <a:lnTo>
                  <a:pt x="958000" y="0"/>
                </a:lnTo>
                <a:lnTo>
                  <a:pt x="958009" y="0"/>
                </a:lnTo>
                <a:lnTo>
                  <a:pt x="962007" y="0"/>
                </a:lnTo>
                <a:lnTo>
                  <a:pt x="962017" y="0"/>
                </a:lnTo>
                <a:lnTo>
                  <a:pt x="962270" y="0"/>
                </a:lnTo>
                <a:lnTo>
                  <a:pt x="964048" y="0"/>
                </a:lnTo>
                <a:lnTo>
                  <a:pt x="968054" y="0"/>
                </a:lnTo>
                <a:lnTo>
                  <a:pt x="973286" y="0"/>
                </a:lnTo>
                <a:lnTo>
                  <a:pt x="977294" y="0"/>
                </a:lnTo>
                <a:lnTo>
                  <a:pt x="979070" y="0"/>
                </a:lnTo>
                <a:lnTo>
                  <a:pt x="979324" y="0"/>
                </a:lnTo>
                <a:lnTo>
                  <a:pt x="979333" y="0"/>
                </a:lnTo>
                <a:lnTo>
                  <a:pt x="983331" y="0"/>
                </a:lnTo>
                <a:lnTo>
                  <a:pt x="983341" y="0"/>
                </a:lnTo>
                <a:lnTo>
                  <a:pt x="985118" y="0"/>
                </a:lnTo>
                <a:lnTo>
                  <a:pt x="989180" y="0"/>
                </a:lnTo>
                <a:lnTo>
                  <a:pt x="995218" y="0"/>
                </a:lnTo>
                <a:lnTo>
                  <a:pt x="995228" y="0"/>
                </a:lnTo>
                <a:lnTo>
                  <a:pt x="998260" y="0"/>
                </a:lnTo>
                <a:lnTo>
                  <a:pt x="1000394" y="0"/>
                </a:lnTo>
                <a:lnTo>
                  <a:pt x="1001577" y="0"/>
                </a:lnTo>
                <a:lnTo>
                  <a:pt x="1005584" y="0"/>
                </a:lnTo>
                <a:lnTo>
                  <a:pt x="1010504" y="0"/>
                </a:lnTo>
                <a:lnTo>
                  <a:pt x="1012281" y="0"/>
                </a:lnTo>
                <a:lnTo>
                  <a:pt x="1016289" y="0"/>
                </a:lnTo>
                <a:lnTo>
                  <a:pt x="1016854" y="0"/>
                </a:lnTo>
                <a:lnTo>
                  <a:pt x="1019606" y="0"/>
                </a:lnTo>
                <a:lnTo>
                  <a:pt x="1020861" y="0"/>
                </a:lnTo>
                <a:lnTo>
                  <a:pt x="1022638" y="0"/>
                </a:lnTo>
                <a:lnTo>
                  <a:pt x="1022647" y="0"/>
                </a:lnTo>
                <a:lnTo>
                  <a:pt x="1022901" y="0"/>
                </a:lnTo>
                <a:lnTo>
                  <a:pt x="1026908" y="0"/>
                </a:lnTo>
                <a:lnTo>
                  <a:pt x="1028686" y="0"/>
                </a:lnTo>
                <a:lnTo>
                  <a:pt x="1032747" y="0"/>
                </a:lnTo>
                <a:lnTo>
                  <a:pt x="1034883" y="0"/>
                </a:lnTo>
                <a:lnTo>
                  <a:pt x="1037924" y="0"/>
                </a:lnTo>
                <a:lnTo>
                  <a:pt x="1038795" y="0"/>
                </a:lnTo>
                <a:lnTo>
                  <a:pt x="1040930" y="0"/>
                </a:lnTo>
                <a:lnTo>
                  <a:pt x="1043962" y="0"/>
                </a:lnTo>
                <a:lnTo>
                  <a:pt x="1043971" y="0"/>
                </a:lnTo>
                <a:lnTo>
                  <a:pt x="1049811" y="0"/>
                </a:lnTo>
                <a:lnTo>
                  <a:pt x="1053818" y="0"/>
                </a:lnTo>
                <a:lnTo>
                  <a:pt x="1054072" y="0"/>
                </a:lnTo>
                <a:lnTo>
                  <a:pt x="1055849" y="0"/>
                </a:lnTo>
                <a:lnTo>
                  <a:pt x="1055858" y="0"/>
                </a:lnTo>
                <a:lnTo>
                  <a:pt x="1059856" y="0"/>
                </a:lnTo>
                <a:lnTo>
                  <a:pt x="1059866" y="0"/>
                </a:lnTo>
                <a:lnTo>
                  <a:pt x="1063173" y="0"/>
                </a:lnTo>
                <a:lnTo>
                  <a:pt x="1066215" y="0"/>
                </a:lnTo>
                <a:lnTo>
                  <a:pt x="1071135" y="0"/>
                </a:lnTo>
                <a:lnTo>
                  <a:pt x="1075142" y="0"/>
                </a:lnTo>
                <a:lnTo>
                  <a:pt x="1076919" y="0"/>
                </a:lnTo>
                <a:lnTo>
                  <a:pt x="1078450" y="0"/>
                </a:lnTo>
                <a:lnTo>
                  <a:pt x="1078460" y="0"/>
                </a:lnTo>
                <a:lnTo>
                  <a:pt x="1080237" y="0"/>
                </a:lnTo>
                <a:lnTo>
                  <a:pt x="1081492" y="0"/>
                </a:lnTo>
                <a:lnTo>
                  <a:pt x="1084244" y="0"/>
                </a:lnTo>
                <a:lnTo>
                  <a:pt x="1084497" y="0"/>
                </a:lnTo>
                <a:lnTo>
                  <a:pt x="1087539" y="0"/>
                </a:lnTo>
                <a:lnTo>
                  <a:pt x="1093379" y="0"/>
                </a:lnTo>
                <a:lnTo>
                  <a:pt x="1095513" y="0"/>
                </a:lnTo>
                <a:lnTo>
                  <a:pt x="1097385" y="0"/>
                </a:lnTo>
                <a:lnTo>
                  <a:pt x="1099426" y="0"/>
                </a:lnTo>
                <a:lnTo>
                  <a:pt x="1099521" y="0"/>
                </a:lnTo>
                <a:lnTo>
                  <a:pt x="1101561" y="0"/>
                </a:lnTo>
                <a:lnTo>
                  <a:pt x="1103433" y="0"/>
                </a:lnTo>
                <a:lnTo>
                  <a:pt x="1105568" y="0"/>
                </a:lnTo>
                <a:lnTo>
                  <a:pt x="1111408" y="0"/>
                </a:lnTo>
                <a:lnTo>
                  <a:pt x="1114449" y="0"/>
                </a:lnTo>
                <a:lnTo>
                  <a:pt x="1114703" y="0"/>
                </a:lnTo>
                <a:lnTo>
                  <a:pt x="1117455" y="0"/>
                </a:lnTo>
                <a:lnTo>
                  <a:pt x="1118710" y="0"/>
                </a:lnTo>
                <a:lnTo>
                  <a:pt x="1120487" y="0"/>
                </a:lnTo>
                <a:lnTo>
                  <a:pt x="1120496" y="0"/>
                </a:lnTo>
                <a:lnTo>
                  <a:pt x="1122027" y="0"/>
                </a:lnTo>
                <a:lnTo>
                  <a:pt x="1123805" y="0"/>
                </a:lnTo>
                <a:lnTo>
                  <a:pt x="1127811" y="0"/>
                </a:lnTo>
                <a:lnTo>
                  <a:pt x="1132732" y="0"/>
                </a:lnTo>
                <a:lnTo>
                  <a:pt x="1135773" y="0"/>
                </a:lnTo>
                <a:lnTo>
                  <a:pt x="1139081" y="0"/>
                </a:lnTo>
                <a:lnTo>
                  <a:pt x="1139090" y="0"/>
                </a:lnTo>
                <a:lnTo>
                  <a:pt x="1143088" y="0"/>
                </a:lnTo>
                <a:lnTo>
                  <a:pt x="1143098" y="0"/>
                </a:lnTo>
                <a:lnTo>
                  <a:pt x="1144875" y="0"/>
                </a:lnTo>
                <a:lnTo>
                  <a:pt x="1145129" y="0"/>
                </a:lnTo>
                <a:lnTo>
                  <a:pt x="1149135" y="0"/>
                </a:lnTo>
                <a:lnTo>
                  <a:pt x="1154975" y="0"/>
                </a:lnTo>
                <a:lnTo>
                  <a:pt x="1154985" y="0"/>
                </a:lnTo>
                <a:lnTo>
                  <a:pt x="1158017" y="0"/>
                </a:lnTo>
                <a:lnTo>
                  <a:pt x="1160151" y="0"/>
                </a:lnTo>
                <a:lnTo>
                  <a:pt x="1161022" y="0"/>
                </a:lnTo>
                <a:lnTo>
                  <a:pt x="1164064" y="0"/>
                </a:lnTo>
                <a:lnTo>
                  <a:pt x="1166199" y="0"/>
                </a:lnTo>
                <a:lnTo>
                  <a:pt x="1170261" y="0"/>
                </a:lnTo>
                <a:lnTo>
                  <a:pt x="1172038" y="0"/>
                </a:lnTo>
                <a:lnTo>
                  <a:pt x="1176046" y="0"/>
                </a:lnTo>
                <a:lnTo>
                  <a:pt x="1176299" y="0"/>
                </a:lnTo>
                <a:lnTo>
                  <a:pt x="1176309" y="0"/>
                </a:lnTo>
                <a:lnTo>
                  <a:pt x="1178085" y="0"/>
                </a:lnTo>
                <a:lnTo>
                  <a:pt x="1179341" y="0"/>
                </a:lnTo>
                <a:lnTo>
                  <a:pt x="1182093" y="0"/>
                </a:lnTo>
                <a:lnTo>
                  <a:pt x="1182658" y="0"/>
                </a:lnTo>
                <a:lnTo>
                  <a:pt x="1186665" y="0"/>
                </a:lnTo>
                <a:lnTo>
                  <a:pt x="1188443" y="0"/>
                </a:lnTo>
                <a:lnTo>
                  <a:pt x="1193362" y="0"/>
                </a:lnTo>
                <a:lnTo>
                  <a:pt x="1197370" y="0"/>
                </a:lnTo>
                <a:lnTo>
                  <a:pt x="1198552" y="0"/>
                </a:lnTo>
                <a:lnTo>
                  <a:pt x="1200687" y="0"/>
                </a:lnTo>
                <a:lnTo>
                  <a:pt x="1203719" y="0"/>
                </a:lnTo>
                <a:lnTo>
                  <a:pt x="1203728" y="0"/>
                </a:lnTo>
                <a:lnTo>
                  <a:pt x="1209767" y="0"/>
                </a:lnTo>
                <a:lnTo>
                  <a:pt x="1213829" y="0"/>
                </a:lnTo>
                <a:lnTo>
                  <a:pt x="1215606" y="0"/>
                </a:lnTo>
                <a:lnTo>
                  <a:pt x="1215615" y="0"/>
                </a:lnTo>
                <a:lnTo>
                  <a:pt x="1219613" y="0"/>
                </a:lnTo>
                <a:lnTo>
                  <a:pt x="1219623" y="0"/>
                </a:lnTo>
                <a:lnTo>
                  <a:pt x="1219876" y="0"/>
                </a:lnTo>
                <a:lnTo>
                  <a:pt x="1221653" y="0"/>
                </a:lnTo>
                <a:lnTo>
                  <a:pt x="1225660" y="0"/>
                </a:lnTo>
                <a:lnTo>
                  <a:pt x="1230892" y="0"/>
                </a:lnTo>
                <a:lnTo>
                  <a:pt x="1234899" y="0"/>
                </a:lnTo>
                <a:lnTo>
                  <a:pt x="1236676" y="0"/>
                </a:lnTo>
                <a:lnTo>
                  <a:pt x="1236930" y="0"/>
                </a:lnTo>
                <a:lnTo>
                  <a:pt x="1236939" y="0"/>
                </a:lnTo>
                <a:lnTo>
                  <a:pt x="1240937" y="0"/>
                </a:lnTo>
                <a:lnTo>
                  <a:pt x="1240947" y="0"/>
                </a:lnTo>
                <a:lnTo>
                  <a:pt x="1242723" y="0"/>
                </a:lnTo>
                <a:lnTo>
                  <a:pt x="1244254" y="0"/>
                </a:lnTo>
                <a:lnTo>
                  <a:pt x="1247296" y="0"/>
                </a:lnTo>
                <a:lnTo>
                  <a:pt x="1258000" y="0"/>
                </a:lnTo>
                <a:lnTo>
                  <a:pt x="1259183" y="0"/>
                </a:lnTo>
                <a:lnTo>
                  <a:pt x="1261318" y="0"/>
                </a:lnTo>
                <a:lnTo>
                  <a:pt x="1263190" y="0"/>
                </a:lnTo>
                <a:lnTo>
                  <a:pt x="1265325" y="0"/>
                </a:lnTo>
                <a:lnTo>
                  <a:pt x="1274460" y="0"/>
                </a:lnTo>
                <a:lnTo>
                  <a:pt x="1277212" y="0"/>
                </a:lnTo>
                <a:lnTo>
                  <a:pt x="1278467" y="0"/>
                </a:lnTo>
                <a:lnTo>
                  <a:pt x="1280244" y="0"/>
                </a:lnTo>
                <a:lnTo>
                  <a:pt x="1280253" y="0"/>
                </a:lnTo>
                <a:lnTo>
                  <a:pt x="1280507" y="0"/>
                </a:lnTo>
                <a:lnTo>
                  <a:pt x="1284514" y="0"/>
                </a:lnTo>
                <a:lnTo>
                  <a:pt x="1286291" y="0"/>
                </a:lnTo>
                <a:lnTo>
                  <a:pt x="1292489" y="0"/>
                </a:lnTo>
                <a:lnTo>
                  <a:pt x="1295530" y="0"/>
                </a:lnTo>
                <a:lnTo>
                  <a:pt x="1298536" y="0"/>
                </a:lnTo>
                <a:lnTo>
                  <a:pt x="1301568" y="0"/>
                </a:lnTo>
                <a:lnTo>
                  <a:pt x="1301577" y="0"/>
                </a:lnTo>
                <a:lnTo>
                  <a:pt x="1304886" y="0"/>
                </a:lnTo>
                <a:lnTo>
                  <a:pt x="1308892" y="0"/>
                </a:lnTo>
                <a:lnTo>
                  <a:pt x="1320779" y="0"/>
                </a:lnTo>
                <a:lnTo>
                  <a:pt x="1323821" y="0"/>
                </a:lnTo>
                <a:lnTo>
                  <a:pt x="1325956" y="0"/>
                </a:lnTo>
                <a:lnTo>
                  <a:pt x="1336056" y="0"/>
                </a:lnTo>
                <a:lnTo>
                  <a:pt x="1336066" y="0"/>
                </a:lnTo>
                <a:lnTo>
                  <a:pt x="1337842" y="0"/>
                </a:lnTo>
                <a:lnTo>
                  <a:pt x="1339098" y="0"/>
                </a:lnTo>
                <a:lnTo>
                  <a:pt x="1341850" y="0"/>
                </a:lnTo>
                <a:lnTo>
                  <a:pt x="1342103" y="0"/>
                </a:lnTo>
                <a:lnTo>
                  <a:pt x="1345145" y="0"/>
                </a:lnTo>
                <a:lnTo>
                  <a:pt x="1353119" y="0"/>
                </a:lnTo>
                <a:lnTo>
                  <a:pt x="1357127" y="0"/>
                </a:lnTo>
                <a:lnTo>
                  <a:pt x="1359166" y="0"/>
                </a:lnTo>
                <a:lnTo>
                  <a:pt x="1363174" y="0"/>
                </a:lnTo>
                <a:lnTo>
                  <a:pt x="1369524" y="0"/>
                </a:lnTo>
                <a:lnTo>
                  <a:pt x="1379633" y="0"/>
                </a:lnTo>
                <a:lnTo>
                  <a:pt x="1381410" y="0"/>
                </a:lnTo>
                <a:lnTo>
                  <a:pt x="1385417" y="0"/>
                </a:lnTo>
                <a:lnTo>
                  <a:pt x="1396687" y="0"/>
                </a:lnTo>
                <a:lnTo>
                  <a:pt x="1396696" y="0"/>
                </a:lnTo>
                <a:lnTo>
                  <a:pt x="1400694" y="0"/>
                </a:lnTo>
                <a:lnTo>
                  <a:pt x="1400704" y="0"/>
                </a:lnTo>
                <a:lnTo>
                  <a:pt x="1402480" y="0"/>
                </a:lnTo>
                <a:lnTo>
                  <a:pt x="1402734" y="0"/>
                </a:lnTo>
                <a:cubicBezTo>
                  <a:pt x="1531814" y="0"/>
                  <a:pt x="1636453" y="104640"/>
                  <a:pt x="1636453" y="233720"/>
                </a:cubicBezTo>
                <a:lnTo>
                  <a:pt x="1636452" y="233720"/>
                </a:lnTo>
                <a:cubicBezTo>
                  <a:pt x="1636452" y="362799"/>
                  <a:pt x="1531813" y="467438"/>
                  <a:pt x="1402734" y="467438"/>
                </a:cubicBezTo>
                <a:lnTo>
                  <a:pt x="1400705" y="467438"/>
                </a:lnTo>
                <a:lnTo>
                  <a:pt x="1400703" y="467438"/>
                </a:lnTo>
                <a:lnTo>
                  <a:pt x="1400694" y="467438"/>
                </a:lnTo>
                <a:lnTo>
                  <a:pt x="1400693" y="467438"/>
                </a:lnTo>
                <a:lnTo>
                  <a:pt x="1396698" y="467438"/>
                </a:lnTo>
                <a:lnTo>
                  <a:pt x="1396695" y="467438"/>
                </a:lnTo>
                <a:lnTo>
                  <a:pt x="1396686" y="467438"/>
                </a:lnTo>
                <a:lnTo>
                  <a:pt x="1379633" y="467438"/>
                </a:lnTo>
                <a:lnTo>
                  <a:pt x="1379632" y="467438"/>
                </a:lnTo>
                <a:lnTo>
                  <a:pt x="1369523" y="467438"/>
                </a:lnTo>
                <a:lnTo>
                  <a:pt x="1363176" y="467438"/>
                </a:lnTo>
                <a:lnTo>
                  <a:pt x="1363173" y="467438"/>
                </a:lnTo>
                <a:lnTo>
                  <a:pt x="1359168" y="467438"/>
                </a:lnTo>
                <a:lnTo>
                  <a:pt x="1359166" y="467438"/>
                </a:lnTo>
                <a:lnTo>
                  <a:pt x="1357128" y="467438"/>
                </a:lnTo>
                <a:lnTo>
                  <a:pt x="1357126" y="467438"/>
                </a:lnTo>
                <a:lnTo>
                  <a:pt x="1353121" y="467438"/>
                </a:lnTo>
                <a:lnTo>
                  <a:pt x="1353118" y="467438"/>
                </a:lnTo>
                <a:lnTo>
                  <a:pt x="1345145" y="467438"/>
                </a:lnTo>
                <a:lnTo>
                  <a:pt x="1345144" y="467438"/>
                </a:lnTo>
                <a:lnTo>
                  <a:pt x="1342103" y="467438"/>
                </a:lnTo>
                <a:lnTo>
                  <a:pt x="1342102" y="467438"/>
                </a:lnTo>
                <a:lnTo>
                  <a:pt x="1339098" y="467438"/>
                </a:lnTo>
                <a:lnTo>
                  <a:pt x="1339097" y="467438"/>
                </a:lnTo>
                <a:lnTo>
                  <a:pt x="1336067" y="467438"/>
                </a:lnTo>
                <a:lnTo>
                  <a:pt x="1336065" y="467438"/>
                </a:lnTo>
                <a:lnTo>
                  <a:pt x="1336056" y="467438"/>
                </a:lnTo>
                <a:lnTo>
                  <a:pt x="1336055" y="467438"/>
                </a:lnTo>
                <a:lnTo>
                  <a:pt x="1325957" y="467438"/>
                </a:lnTo>
                <a:lnTo>
                  <a:pt x="1325955" y="467438"/>
                </a:lnTo>
                <a:lnTo>
                  <a:pt x="1308892" y="467438"/>
                </a:lnTo>
                <a:lnTo>
                  <a:pt x="1304885" y="467438"/>
                </a:lnTo>
                <a:lnTo>
                  <a:pt x="1301579" y="467438"/>
                </a:lnTo>
                <a:lnTo>
                  <a:pt x="1301576" y="467438"/>
                </a:lnTo>
                <a:lnTo>
                  <a:pt x="1301567" y="467438"/>
                </a:lnTo>
                <a:lnTo>
                  <a:pt x="1298538" y="467438"/>
                </a:lnTo>
                <a:lnTo>
                  <a:pt x="1298535" y="467438"/>
                </a:lnTo>
                <a:lnTo>
                  <a:pt x="1295531" y="467438"/>
                </a:lnTo>
                <a:lnTo>
                  <a:pt x="1295529" y="467438"/>
                </a:lnTo>
                <a:lnTo>
                  <a:pt x="1292490" y="467438"/>
                </a:lnTo>
                <a:lnTo>
                  <a:pt x="1292488" y="467438"/>
                </a:lnTo>
                <a:lnTo>
                  <a:pt x="1284514" y="467438"/>
                </a:lnTo>
                <a:lnTo>
                  <a:pt x="1284513" y="467438"/>
                </a:lnTo>
                <a:lnTo>
                  <a:pt x="1280507" y="467438"/>
                </a:lnTo>
                <a:lnTo>
                  <a:pt x="1280506" y="467438"/>
                </a:lnTo>
                <a:lnTo>
                  <a:pt x="1278467" y="467438"/>
                </a:lnTo>
                <a:lnTo>
                  <a:pt x="1278466" y="467438"/>
                </a:lnTo>
                <a:lnTo>
                  <a:pt x="1274460" y="467438"/>
                </a:lnTo>
                <a:lnTo>
                  <a:pt x="1274459" y="467438"/>
                </a:lnTo>
                <a:lnTo>
                  <a:pt x="1265327" y="467438"/>
                </a:lnTo>
                <a:lnTo>
                  <a:pt x="1265325" y="467438"/>
                </a:lnTo>
                <a:lnTo>
                  <a:pt x="1261319" y="467438"/>
                </a:lnTo>
                <a:lnTo>
                  <a:pt x="1261317" y="467438"/>
                </a:lnTo>
                <a:lnTo>
                  <a:pt x="1258002" y="467438"/>
                </a:lnTo>
                <a:lnTo>
                  <a:pt x="1257999" y="467438"/>
                </a:lnTo>
                <a:lnTo>
                  <a:pt x="1247296" y="467438"/>
                </a:lnTo>
                <a:lnTo>
                  <a:pt x="1244254" y="467438"/>
                </a:lnTo>
                <a:lnTo>
                  <a:pt x="1240948" y="467438"/>
                </a:lnTo>
                <a:lnTo>
                  <a:pt x="1240946" y="467438"/>
                </a:lnTo>
                <a:lnTo>
                  <a:pt x="1240937" y="467438"/>
                </a:lnTo>
                <a:lnTo>
                  <a:pt x="1240936" y="467438"/>
                </a:lnTo>
                <a:lnTo>
                  <a:pt x="1236941" y="467438"/>
                </a:lnTo>
                <a:lnTo>
                  <a:pt x="1236938" y="467438"/>
                </a:lnTo>
                <a:lnTo>
                  <a:pt x="1236929" y="467438"/>
                </a:lnTo>
                <a:lnTo>
                  <a:pt x="1234900" y="467438"/>
                </a:lnTo>
                <a:lnTo>
                  <a:pt x="1234899" y="467438"/>
                </a:lnTo>
                <a:lnTo>
                  <a:pt x="1230893" y="467438"/>
                </a:lnTo>
                <a:lnTo>
                  <a:pt x="1230891" y="467438"/>
                </a:lnTo>
                <a:lnTo>
                  <a:pt x="1219876" y="467438"/>
                </a:lnTo>
                <a:lnTo>
                  <a:pt x="1219875" y="467438"/>
                </a:lnTo>
                <a:lnTo>
                  <a:pt x="1213829" y="467438"/>
                </a:lnTo>
                <a:lnTo>
                  <a:pt x="1213828" y="467438"/>
                </a:lnTo>
                <a:lnTo>
                  <a:pt x="1209766" y="467438"/>
                </a:lnTo>
                <a:lnTo>
                  <a:pt x="1203730" y="467438"/>
                </a:lnTo>
                <a:lnTo>
                  <a:pt x="1203728" y="467438"/>
                </a:lnTo>
                <a:lnTo>
                  <a:pt x="1203718" y="467438"/>
                </a:lnTo>
                <a:lnTo>
                  <a:pt x="1200689" y="467438"/>
                </a:lnTo>
                <a:lnTo>
                  <a:pt x="1200687" y="467438"/>
                </a:lnTo>
                <a:lnTo>
                  <a:pt x="1197371" y="467438"/>
                </a:lnTo>
                <a:lnTo>
                  <a:pt x="1197369" y="467438"/>
                </a:lnTo>
                <a:lnTo>
                  <a:pt x="1193364" y="467438"/>
                </a:lnTo>
                <a:lnTo>
                  <a:pt x="1193361" y="467438"/>
                </a:lnTo>
                <a:lnTo>
                  <a:pt x="1186665" y="467438"/>
                </a:lnTo>
                <a:lnTo>
                  <a:pt x="1186664" y="467438"/>
                </a:lnTo>
                <a:lnTo>
                  <a:pt x="1182658" y="467438"/>
                </a:lnTo>
                <a:lnTo>
                  <a:pt x="1179341" y="467438"/>
                </a:lnTo>
                <a:lnTo>
                  <a:pt x="1179340" y="467438"/>
                </a:lnTo>
                <a:lnTo>
                  <a:pt x="1176310" y="467438"/>
                </a:lnTo>
                <a:lnTo>
                  <a:pt x="1176308" y="467438"/>
                </a:lnTo>
                <a:lnTo>
                  <a:pt x="1176299" y="467438"/>
                </a:lnTo>
                <a:lnTo>
                  <a:pt x="1176298" y="467438"/>
                </a:lnTo>
                <a:lnTo>
                  <a:pt x="1170262" y="467438"/>
                </a:lnTo>
                <a:lnTo>
                  <a:pt x="1170261" y="467438"/>
                </a:lnTo>
                <a:lnTo>
                  <a:pt x="1166200" y="467438"/>
                </a:lnTo>
                <a:lnTo>
                  <a:pt x="1166198" y="467438"/>
                </a:lnTo>
                <a:lnTo>
                  <a:pt x="1160153" y="467438"/>
                </a:lnTo>
                <a:lnTo>
                  <a:pt x="1160150" y="467438"/>
                </a:lnTo>
                <a:lnTo>
                  <a:pt x="1149135" y="467438"/>
                </a:lnTo>
                <a:lnTo>
                  <a:pt x="1145128" y="467438"/>
                </a:lnTo>
                <a:lnTo>
                  <a:pt x="1143099" y="467438"/>
                </a:lnTo>
                <a:lnTo>
                  <a:pt x="1143097" y="467438"/>
                </a:lnTo>
                <a:lnTo>
                  <a:pt x="1143088" y="467438"/>
                </a:lnTo>
                <a:lnTo>
                  <a:pt x="1143087" y="467438"/>
                </a:lnTo>
                <a:lnTo>
                  <a:pt x="1139092" y="467438"/>
                </a:lnTo>
                <a:lnTo>
                  <a:pt x="1139090" y="467438"/>
                </a:lnTo>
                <a:lnTo>
                  <a:pt x="1139080" y="467438"/>
                </a:lnTo>
                <a:lnTo>
                  <a:pt x="1135774" y="467438"/>
                </a:lnTo>
                <a:lnTo>
                  <a:pt x="1135772" y="467438"/>
                </a:lnTo>
                <a:lnTo>
                  <a:pt x="1132733" y="467438"/>
                </a:lnTo>
                <a:lnTo>
                  <a:pt x="1132731" y="467438"/>
                </a:lnTo>
                <a:lnTo>
                  <a:pt x="1122027" y="467438"/>
                </a:lnTo>
                <a:lnTo>
                  <a:pt x="1122026" y="467438"/>
                </a:lnTo>
                <a:lnTo>
                  <a:pt x="1118710" y="467438"/>
                </a:lnTo>
                <a:lnTo>
                  <a:pt x="1118709" y="467438"/>
                </a:lnTo>
                <a:lnTo>
                  <a:pt x="1114703" y="467438"/>
                </a:lnTo>
                <a:lnTo>
                  <a:pt x="1114702" y="467438"/>
                </a:lnTo>
                <a:lnTo>
                  <a:pt x="1105570" y="467438"/>
                </a:lnTo>
                <a:lnTo>
                  <a:pt x="1105568" y="467438"/>
                </a:lnTo>
                <a:lnTo>
                  <a:pt x="1101562" y="467438"/>
                </a:lnTo>
                <a:lnTo>
                  <a:pt x="1101560" y="467438"/>
                </a:lnTo>
                <a:lnTo>
                  <a:pt x="1099523" y="467438"/>
                </a:lnTo>
                <a:lnTo>
                  <a:pt x="1099520" y="467438"/>
                </a:lnTo>
                <a:lnTo>
                  <a:pt x="1095515" y="467438"/>
                </a:lnTo>
                <a:lnTo>
                  <a:pt x="1095512" y="467438"/>
                </a:lnTo>
                <a:lnTo>
                  <a:pt x="1087539" y="467438"/>
                </a:lnTo>
                <a:lnTo>
                  <a:pt x="1084497" y="467438"/>
                </a:lnTo>
                <a:lnTo>
                  <a:pt x="1081492" y="467438"/>
                </a:lnTo>
                <a:lnTo>
                  <a:pt x="1081491" y="467438"/>
                </a:lnTo>
                <a:lnTo>
                  <a:pt x="1078461" y="467438"/>
                </a:lnTo>
                <a:lnTo>
                  <a:pt x="1078459" y="467438"/>
                </a:lnTo>
                <a:lnTo>
                  <a:pt x="1078450" y="467438"/>
                </a:lnTo>
                <a:lnTo>
                  <a:pt x="1078449" y="467438"/>
                </a:lnTo>
                <a:lnTo>
                  <a:pt x="1075143" y="467438"/>
                </a:lnTo>
                <a:lnTo>
                  <a:pt x="1075142" y="467438"/>
                </a:lnTo>
                <a:lnTo>
                  <a:pt x="1071136" y="467438"/>
                </a:lnTo>
                <a:lnTo>
                  <a:pt x="1071134" y="467438"/>
                </a:lnTo>
                <a:lnTo>
                  <a:pt x="1054072" y="467438"/>
                </a:lnTo>
                <a:lnTo>
                  <a:pt x="1054071" y="467438"/>
                </a:lnTo>
                <a:lnTo>
                  <a:pt x="1043973" y="467438"/>
                </a:lnTo>
                <a:lnTo>
                  <a:pt x="1043971" y="467438"/>
                </a:lnTo>
                <a:lnTo>
                  <a:pt x="1043961" y="467438"/>
                </a:lnTo>
                <a:lnTo>
                  <a:pt x="1040932" y="467438"/>
                </a:lnTo>
                <a:lnTo>
                  <a:pt x="1040930" y="467438"/>
                </a:lnTo>
                <a:lnTo>
                  <a:pt x="1037926" y="467438"/>
                </a:lnTo>
                <a:lnTo>
                  <a:pt x="1037923" y="467438"/>
                </a:lnTo>
                <a:lnTo>
                  <a:pt x="1034885" y="467438"/>
                </a:lnTo>
                <a:lnTo>
                  <a:pt x="1034882" y="467438"/>
                </a:lnTo>
                <a:lnTo>
                  <a:pt x="1026908" y="467438"/>
                </a:lnTo>
                <a:lnTo>
                  <a:pt x="1026907" y="467438"/>
                </a:lnTo>
                <a:lnTo>
                  <a:pt x="1022901" y="467438"/>
                </a:lnTo>
                <a:lnTo>
                  <a:pt x="1020861" y="467438"/>
                </a:lnTo>
                <a:lnTo>
                  <a:pt x="1020860" y="467438"/>
                </a:lnTo>
                <a:lnTo>
                  <a:pt x="1016854" y="467438"/>
                </a:lnTo>
                <a:lnTo>
                  <a:pt x="1016853" y="467438"/>
                </a:lnTo>
                <a:lnTo>
                  <a:pt x="1010505" y="467438"/>
                </a:lnTo>
                <a:lnTo>
                  <a:pt x="1010504" y="467438"/>
                </a:lnTo>
                <a:lnTo>
                  <a:pt x="1000396" y="467438"/>
                </a:lnTo>
                <a:lnTo>
                  <a:pt x="1000393" y="467438"/>
                </a:lnTo>
                <a:lnTo>
                  <a:pt x="983342" y="467438"/>
                </a:lnTo>
                <a:lnTo>
                  <a:pt x="983340" y="467438"/>
                </a:lnTo>
                <a:lnTo>
                  <a:pt x="983331" y="467438"/>
                </a:lnTo>
                <a:lnTo>
                  <a:pt x="983330" y="467438"/>
                </a:lnTo>
                <a:lnTo>
                  <a:pt x="979335" y="467438"/>
                </a:lnTo>
                <a:lnTo>
                  <a:pt x="979333" y="467438"/>
                </a:lnTo>
                <a:lnTo>
                  <a:pt x="979323" y="467438"/>
                </a:lnTo>
                <a:lnTo>
                  <a:pt x="977295" y="467438"/>
                </a:lnTo>
                <a:lnTo>
                  <a:pt x="977293" y="467438"/>
                </a:lnTo>
                <a:lnTo>
                  <a:pt x="840249" y="467437"/>
                </a:lnTo>
                <a:lnTo>
                  <a:pt x="840241" y="467438"/>
                </a:lnTo>
                <a:lnTo>
                  <a:pt x="838212" y="467438"/>
                </a:lnTo>
                <a:lnTo>
                  <a:pt x="838210" y="467438"/>
                </a:lnTo>
                <a:lnTo>
                  <a:pt x="838201" y="467438"/>
                </a:lnTo>
                <a:lnTo>
                  <a:pt x="838200" y="467438"/>
                </a:lnTo>
                <a:lnTo>
                  <a:pt x="834205" y="467438"/>
                </a:lnTo>
                <a:lnTo>
                  <a:pt x="834202" y="467438"/>
                </a:lnTo>
                <a:lnTo>
                  <a:pt x="834193" y="467438"/>
                </a:lnTo>
                <a:lnTo>
                  <a:pt x="817140" y="467438"/>
                </a:lnTo>
                <a:lnTo>
                  <a:pt x="817139" y="467438"/>
                </a:lnTo>
                <a:lnTo>
                  <a:pt x="807030" y="467438"/>
                </a:lnTo>
                <a:lnTo>
                  <a:pt x="800683" y="467438"/>
                </a:lnTo>
                <a:lnTo>
                  <a:pt x="800680" y="467438"/>
                </a:lnTo>
                <a:lnTo>
                  <a:pt x="796675" y="467438"/>
                </a:lnTo>
                <a:lnTo>
                  <a:pt x="796673" y="467438"/>
                </a:lnTo>
                <a:lnTo>
                  <a:pt x="794635" y="467438"/>
                </a:lnTo>
                <a:lnTo>
                  <a:pt x="794633" y="467438"/>
                </a:lnTo>
                <a:lnTo>
                  <a:pt x="790628" y="467438"/>
                </a:lnTo>
                <a:lnTo>
                  <a:pt x="790625" y="467438"/>
                </a:lnTo>
                <a:lnTo>
                  <a:pt x="782652" y="467438"/>
                </a:lnTo>
                <a:lnTo>
                  <a:pt x="782651" y="467438"/>
                </a:lnTo>
                <a:lnTo>
                  <a:pt x="779610" y="467438"/>
                </a:lnTo>
                <a:lnTo>
                  <a:pt x="779609" y="467438"/>
                </a:lnTo>
                <a:lnTo>
                  <a:pt x="776605" y="467438"/>
                </a:lnTo>
                <a:lnTo>
                  <a:pt x="776604" y="467438"/>
                </a:lnTo>
                <a:lnTo>
                  <a:pt x="773574" y="467438"/>
                </a:lnTo>
                <a:lnTo>
                  <a:pt x="773572" y="467438"/>
                </a:lnTo>
                <a:lnTo>
                  <a:pt x="773563" y="467438"/>
                </a:lnTo>
                <a:lnTo>
                  <a:pt x="773562" y="467438"/>
                </a:lnTo>
                <a:lnTo>
                  <a:pt x="763464" y="467438"/>
                </a:lnTo>
                <a:lnTo>
                  <a:pt x="763462" y="467438"/>
                </a:lnTo>
                <a:lnTo>
                  <a:pt x="746399" y="467438"/>
                </a:lnTo>
                <a:lnTo>
                  <a:pt x="742392" y="467438"/>
                </a:lnTo>
                <a:lnTo>
                  <a:pt x="739086" y="467438"/>
                </a:lnTo>
                <a:lnTo>
                  <a:pt x="739083" y="467438"/>
                </a:lnTo>
                <a:lnTo>
                  <a:pt x="739074" y="467438"/>
                </a:lnTo>
                <a:lnTo>
                  <a:pt x="736045" y="467438"/>
                </a:lnTo>
                <a:lnTo>
                  <a:pt x="736042" y="467438"/>
                </a:lnTo>
                <a:lnTo>
                  <a:pt x="733038" y="467438"/>
                </a:lnTo>
                <a:lnTo>
                  <a:pt x="733036" y="467438"/>
                </a:lnTo>
                <a:lnTo>
                  <a:pt x="729997" y="467438"/>
                </a:lnTo>
                <a:lnTo>
                  <a:pt x="729995" y="467438"/>
                </a:lnTo>
                <a:lnTo>
                  <a:pt x="722021" y="467438"/>
                </a:lnTo>
                <a:lnTo>
                  <a:pt x="722020" y="467438"/>
                </a:lnTo>
                <a:lnTo>
                  <a:pt x="718014" y="467438"/>
                </a:lnTo>
                <a:lnTo>
                  <a:pt x="718013" y="467438"/>
                </a:lnTo>
                <a:lnTo>
                  <a:pt x="715974" y="467438"/>
                </a:lnTo>
                <a:lnTo>
                  <a:pt x="715973" y="467438"/>
                </a:lnTo>
                <a:lnTo>
                  <a:pt x="711967" y="467438"/>
                </a:lnTo>
                <a:lnTo>
                  <a:pt x="711966" y="467438"/>
                </a:lnTo>
                <a:lnTo>
                  <a:pt x="702834" y="467438"/>
                </a:lnTo>
                <a:lnTo>
                  <a:pt x="702832" y="467438"/>
                </a:lnTo>
                <a:lnTo>
                  <a:pt x="698826" y="467438"/>
                </a:lnTo>
                <a:lnTo>
                  <a:pt x="698824" y="467438"/>
                </a:lnTo>
                <a:lnTo>
                  <a:pt x="695509" y="467438"/>
                </a:lnTo>
                <a:lnTo>
                  <a:pt x="695506" y="467438"/>
                </a:lnTo>
                <a:lnTo>
                  <a:pt x="684803" y="467438"/>
                </a:lnTo>
                <a:lnTo>
                  <a:pt x="681761" y="467438"/>
                </a:lnTo>
                <a:lnTo>
                  <a:pt x="678455" y="467438"/>
                </a:lnTo>
                <a:lnTo>
                  <a:pt x="678453" y="467438"/>
                </a:lnTo>
                <a:lnTo>
                  <a:pt x="678444" y="467438"/>
                </a:lnTo>
                <a:lnTo>
                  <a:pt x="678443" y="467438"/>
                </a:lnTo>
                <a:lnTo>
                  <a:pt x="674448" y="467438"/>
                </a:lnTo>
                <a:lnTo>
                  <a:pt x="674445" y="467438"/>
                </a:lnTo>
                <a:lnTo>
                  <a:pt x="674436" y="467438"/>
                </a:lnTo>
                <a:lnTo>
                  <a:pt x="672407" y="467438"/>
                </a:lnTo>
                <a:lnTo>
                  <a:pt x="672406" y="467438"/>
                </a:lnTo>
                <a:lnTo>
                  <a:pt x="668400" y="467438"/>
                </a:lnTo>
                <a:lnTo>
                  <a:pt x="668398" y="467438"/>
                </a:lnTo>
                <a:lnTo>
                  <a:pt x="657383" y="467438"/>
                </a:lnTo>
                <a:lnTo>
                  <a:pt x="657382" y="467438"/>
                </a:lnTo>
                <a:lnTo>
                  <a:pt x="651336" y="467438"/>
                </a:lnTo>
                <a:lnTo>
                  <a:pt x="651335" y="467438"/>
                </a:lnTo>
                <a:lnTo>
                  <a:pt x="647273" y="467438"/>
                </a:lnTo>
                <a:lnTo>
                  <a:pt x="641237" y="467438"/>
                </a:lnTo>
                <a:lnTo>
                  <a:pt x="641235" y="467438"/>
                </a:lnTo>
                <a:lnTo>
                  <a:pt x="641225" y="467438"/>
                </a:lnTo>
                <a:lnTo>
                  <a:pt x="638196" y="467438"/>
                </a:lnTo>
                <a:lnTo>
                  <a:pt x="638194" y="467438"/>
                </a:lnTo>
                <a:lnTo>
                  <a:pt x="634878" y="467438"/>
                </a:lnTo>
                <a:lnTo>
                  <a:pt x="634876" y="467438"/>
                </a:lnTo>
                <a:lnTo>
                  <a:pt x="630871" y="467438"/>
                </a:lnTo>
                <a:lnTo>
                  <a:pt x="630868" y="467438"/>
                </a:lnTo>
                <a:lnTo>
                  <a:pt x="624172" y="467438"/>
                </a:lnTo>
                <a:lnTo>
                  <a:pt x="624171" y="467438"/>
                </a:lnTo>
                <a:lnTo>
                  <a:pt x="620165" y="467438"/>
                </a:lnTo>
                <a:lnTo>
                  <a:pt x="616848" y="467438"/>
                </a:lnTo>
                <a:lnTo>
                  <a:pt x="616847" y="467438"/>
                </a:lnTo>
                <a:lnTo>
                  <a:pt x="613817" y="467438"/>
                </a:lnTo>
                <a:lnTo>
                  <a:pt x="613815" y="467438"/>
                </a:lnTo>
                <a:lnTo>
                  <a:pt x="613806" y="467438"/>
                </a:lnTo>
                <a:lnTo>
                  <a:pt x="613805" y="467438"/>
                </a:lnTo>
                <a:lnTo>
                  <a:pt x="607769" y="467438"/>
                </a:lnTo>
                <a:lnTo>
                  <a:pt x="607768" y="467438"/>
                </a:lnTo>
                <a:lnTo>
                  <a:pt x="603707" y="467438"/>
                </a:lnTo>
                <a:lnTo>
                  <a:pt x="603705" y="467438"/>
                </a:lnTo>
                <a:lnTo>
                  <a:pt x="597660" y="467438"/>
                </a:lnTo>
                <a:lnTo>
                  <a:pt x="597657" y="467438"/>
                </a:lnTo>
                <a:lnTo>
                  <a:pt x="586642" y="467438"/>
                </a:lnTo>
                <a:lnTo>
                  <a:pt x="582635" y="467438"/>
                </a:lnTo>
                <a:lnTo>
                  <a:pt x="580606" y="467438"/>
                </a:lnTo>
                <a:lnTo>
                  <a:pt x="580604" y="467438"/>
                </a:lnTo>
                <a:lnTo>
                  <a:pt x="580595" y="467438"/>
                </a:lnTo>
                <a:lnTo>
                  <a:pt x="580594" y="467438"/>
                </a:lnTo>
                <a:lnTo>
                  <a:pt x="576599" y="467438"/>
                </a:lnTo>
                <a:lnTo>
                  <a:pt x="576597" y="467438"/>
                </a:lnTo>
                <a:lnTo>
                  <a:pt x="576587" y="467438"/>
                </a:lnTo>
                <a:lnTo>
                  <a:pt x="573281" y="467438"/>
                </a:lnTo>
                <a:lnTo>
                  <a:pt x="573279" y="467438"/>
                </a:lnTo>
                <a:lnTo>
                  <a:pt x="570240" y="467438"/>
                </a:lnTo>
                <a:lnTo>
                  <a:pt x="570238" y="467438"/>
                </a:lnTo>
                <a:lnTo>
                  <a:pt x="559534" y="467438"/>
                </a:lnTo>
                <a:lnTo>
                  <a:pt x="559533" y="467438"/>
                </a:lnTo>
                <a:lnTo>
                  <a:pt x="556217" y="467438"/>
                </a:lnTo>
                <a:lnTo>
                  <a:pt x="556216" y="467438"/>
                </a:lnTo>
                <a:lnTo>
                  <a:pt x="552210" y="467438"/>
                </a:lnTo>
                <a:lnTo>
                  <a:pt x="552209" y="467438"/>
                </a:lnTo>
                <a:lnTo>
                  <a:pt x="543077" y="467438"/>
                </a:lnTo>
                <a:lnTo>
                  <a:pt x="543075" y="467438"/>
                </a:lnTo>
                <a:lnTo>
                  <a:pt x="539069" y="467438"/>
                </a:lnTo>
                <a:lnTo>
                  <a:pt x="539067" y="467438"/>
                </a:lnTo>
                <a:lnTo>
                  <a:pt x="537030" y="467438"/>
                </a:lnTo>
                <a:lnTo>
                  <a:pt x="537027" y="467438"/>
                </a:lnTo>
                <a:lnTo>
                  <a:pt x="533022" y="467438"/>
                </a:lnTo>
                <a:lnTo>
                  <a:pt x="533019" y="467438"/>
                </a:lnTo>
                <a:lnTo>
                  <a:pt x="525046" y="467438"/>
                </a:lnTo>
                <a:lnTo>
                  <a:pt x="522004" y="467438"/>
                </a:lnTo>
                <a:lnTo>
                  <a:pt x="518999" y="467438"/>
                </a:lnTo>
                <a:lnTo>
                  <a:pt x="518998" y="467438"/>
                </a:lnTo>
                <a:lnTo>
                  <a:pt x="515968" y="467438"/>
                </a:lnTo>
                <a:lnTo>
                  <a:pt x="515966" y="467438"/>
                </a:lnTo>
                <a:lnTo>
                  <a:pt x="515957" y="467438"/>
                </a:lnTo>
                <a:lnTo>
                  <a:pt x="515956" y="467438"/>
                </a:lnTo>
                <a:lnTo>
                  <a:pt x="512650" y="467438"/>
                </a:lnTo>
                <a:lnTo>
                  <a:pt x="512649" y="467438"/>
                </a:lnTo>
                <a:lnTo>
                  <a:pt x="508643" y="467438"/>
                </a:lnTo>
                <a:lnTo>
                  <a:pt x="508641" y="467438"/>
                </a:lnTo>
                <a:lnTo>
                  <a:pt x="491579" y="467438"/>
                </a:lnTo>
                <a:lnTo>
                  <a:pt x="491578" y="467438"/>
                </a:lnTo>
                <a:lnTo>
                  <a:pt x="481480" y="467438"/>
                </a:lnTo>
                <a:lnTo>
                  <a:pt x="481478" y="467438"/>
                </a:lnTo>
                <a:lnTo>
                  <a:pt x="481468" y="467438"/>
                </a:lnTo>
                <a:lnTo>
                  <a:pt x="478439" y="467438"/>
                </a:lnTo>
                <a:lnTo>
                  <a:pt x="478437" y="467438"/>
                </a:lnTo>
                <a:lnTo>
                  <a:pt x="475433" y="467438"/>
                </a:lnTo>
                <a:lnTo>
                  <a:pt x="475430" y="467438"/>
                </a:lnTo>
                <a:lnTo>
                  <a:pt x="472392" y="467438"/>
                </a:lnTo>
                <a:lnTo>
                  <a:pt x="472389" y="467438"/>
                </a:lnTo>
                <a:lnTo>
                  <a:pt x="464415" y="467438"/>
                </a:lnTo>
                <a:lnTo>
                  <a:pt x="464414" y="467438"/>
                </a:lnTo>
                <a:lnTo>
                  <a:pt x="460408" y="467438"/>
                </a:lnTo>
                <a:lnTo>
                  <a:pt x="458368" y="467438"/>
                </a:lnTo>
                <a:lnTo>
                  <a:pt x="458367" y="467438"/>
                </a:lnTo>
                <a:lnTo>
                  <a:pt x="454361" y="467438"/>
                </a:lnTo>
                <a:lnTo>
                  <a:pt x="454360" y="467438"/>
                </a:lnTo>
                <a:lnTo>
                  <a:pt x="448012" y="467438"/>
                </a:lnTo>
                <a:lnTo>
                  <a:pt x="448011" y="467438"/>
                </a:lnTo>
                <a:lnTo>
                  <a:pt x="437903" y="467438"/>
                </a:lnTo>
                <a:lnTo>
                  <a:pt x="437900" y="467438"/>
                </a:lnTo>
                <a:lnTo>
                  <a:pt x="420849" y="467438"/>
                </a:lnTo>
                <a:lnTo>
                  <a:pt x="420847" y="467438"/>
                </a:lnTo>
                <a:lnTo>
                  <a:pt x="420838" y="467438"/>
                </a:lnTo>
                <a:lnTo>
                  <a:pt x="420837" y="467438"/>
                </a:lnTo>
                <a:lnTo>
                  <a:pt x="416842" y="467438"/>
                </a:lnTo>
                <a:lnTo>
                  <a:pt x="416840" y="467438"/>
                </a:lnTo>
                <a:lnTo>
                  <a:pt x="416830" y="467438"/>
                </a:lnTo>
                <a:lnTo>
                  <a:pt x="414802" y="467438"/>
                </a:lnTo>
                <a:lnTo>
                  <a:pt x="414800" y="467438"/>
                </a:lnTo>
                <a:lnTo>
                  <a:pt x="233720" y="467437"/>
                </a:lnTo>
                <a:cubicBezTo>
                  <a:pt x="120774" y="467437"/>
                  <a:pt x="26542" y="387323"/>
                  <a:pt x="4748" y="280821"/>
                </a:cubicBezTo>
                <a:lnTo>
                  <a:pt x="0" y="233720"/>
                </a:lnTo>
                <a:lnTo>
                  <a:pt x="4748" y="186617"/>
                </a:lnTo>
                <a:cubicBezTo>
                  <a:pt x="26542" y="80115"/>
                  <a:pt x="120774" y="0"/>
                  <a:pt x="233720" y="0"/>
                </a:cubicBezTo>
                <a:close/>
              </a:path>
            </a:pathLst>
          </a:custGeom>
          <a:noFill/>
          <a:ln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cxnSp>
        <p:nvCxnSpPr>
          <p:cNvPr id="57" name="Прямая соединительная линия 56"/>
          <p:cNvCxnSpPr/>
          <p:nvPr/>
        </p:nvCxnSpPr>
        <p:spPr>
          <a:xfrm>
            <a:off x="6316101" y="3723969"/>
            <a:ext cx="5191784" cy="0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1" name="Picture 4" descr="https://argoclima.com/wp-content/uploads/2020/04/metro-ag-logo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3272" y="3058637"/>
            <a:ext cx="693850" cy="1844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" descr="https://corpmsp.ru/upload/iblock/63e/Rusagromarket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2818" y="3045874"/>
            <a:ext cx="1023347" cy="233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9" name="Рисунок 38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sp>
        <p:nvSpPr>
          <p:cNvPr id="46" name="Полилиния 45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51954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0900742" y="306999"/>
            <a:ext cx="604745" cy="322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8429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0" y="0"/>
            <a:ext cx="547606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4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31838" y="4208953"/>
            <a:ext cx="4472916" cy="123110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000" spc="-50" dirty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</a:t>
            </a:r>
            <a:r>
              <a:rPr lang="ru-RU" sz="2000" spc="-50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ервис</a:t>
            </a:r>
            <a:r>
              <a:rPr lang="ru-RU" sz="2000" spc="-50" dirty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, </a:t>
            </a:r>
            <a:r>
              <a:rPr lang="ru-RU" sz="2000" spc="-50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открывающий </a:t>
            </a:r>
            <a:r>
              <a:rPr lang="ru-RU" sz="2000" spc="-50" dirty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доступ </a:t>
            </a:r>
            <a:r>
              <a:rPr lang="ru-RU" sz="2000" spc="-50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ставщикам продуктов питания </a:t>
            </a:r>
            <a:br>
              <a:rPr lang="ru-RU" sz="2000" spc="-50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2000" spc="-50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на </a:t>
            </a:r>
            <a:r>
              <a:rPr lang="ru-RU" sz="2000" spc="-50" dirty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лки крупнейших торговых сетей </a:t>
            </a:r>
            <a:r>
              <a:rPr lang="en-US" sz="2000" spc="-50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/>
            </a:r>
            <a:br>
              <a:rPr lang="en-US" sz="2000" spc="-50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2000" spc="-50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 </a:t>
            </a:r>
            <a:r>
              <a:rPr lang="ru-RU" sz="2000" spc="-50" dirty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«Фермерских островков»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647143" y="2005944"/>
            <a:ext cx="2281485" cy="134652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уже работают </a:t>
            </a:r>
            <a:r>
              <a:rPr lang="ru-RU" sz="1400" b="1" spc="7" dirty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400" b="1" spc="7" dirty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050" spc="7" dirty="0">
                <a:latin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sz="105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республиках </a:t>
            </a:r>
            <a:r>
              <a:rPr lang="ru-RU" sz="1050" dirty="0" smtClean="0">
                <a:latin typeface="Segoe UI" panose="020B0502040204020203" pitchFamily="34" charset="0"/>
                <a:cs typeface="Segoe UI" panose="020B0502040204020203" pitchFamily="34" charset="0"/>
              </a:rPr>
              <a:t>Башкортостан, Татарстан, Крым, Удмуртской республике, Новосибирской, Омской, Ивановской, Нижегородской, Ярославской, Владимирской и Ростовской областях</a:t>
            </a:r>
            <a:r>
              <a:rPr lang="ru-RU" sz="105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ru-RU" sz="105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5891552" y="2005944"/>
            <a:ext cx="146262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план </a:t>
            </a:r>
            <a:r>
              <a:rPr lang="en-US" sz="1400" b="1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400" b="1" spc="7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на </a:t>
            </a: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2022 год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10266650" y="2005944"/>
            <a:ext cx="128475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откроются </a:t>
            </a:r>
            <a:r>
              <a:rPr lang="ru-RU" sz="1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/>
            </a:r>
            <a:br>
              <a:rPr lang="ru-RU" sz="1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в </a:t>
            </a:r>
            <a:r>
              <a:rPr lang="ru-RU" sz="1400" b="1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ближайшее </a:t>
            </a:r>
            <a:r>
              <a:rPr lang="ru-RU" sz="1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/>
            </a:r>
            <a:br>
              <a:rPr lang="ru-RU" sz="1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b="1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время</a:t>
            </a:r>
            <a:endParaRPr lang="ru-RU" sz="14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642254" y="1492886"/>
            <a:ext cx="453315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5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4</a:t>
            </a:r>
            <a:endParaRPr lang="ru-RU" sz="3500" spc="7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891553" y="1492886"/>
            <a:ext cx="1124598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5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5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25 </a:t>
            </a:r>
            <a:endParaRPr lang="ru-RU" sz="3500" spc="7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10266650" y="1492886"/>
            <a:ext cx="726305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5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500" spc="7" dirty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7</a:t>
            </a: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10538" y="5630991"/>
            <a:ext cx="2469542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0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gt;140</a:t>
            </a:r>
            <a:endParaRPr lang="ru-RU" sz="3000" spc="7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9556867" y="3515907"/>
            <a:ext cx="18623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«магазин в магазине»</a:t>
            </a: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площадью </a:t>
            </a: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20-30 </a:t>
            </a:r>
            <a:r>
              <a:rPr lang="ru-RU" sz="1400" dirty="0" err="1" smtClean="0">
                <a:latin typeface="Segoe UI" panose="020B0502040204020203" pitchFamily="34" charset="0"/>
                <a:cs typeface="Segoe UI" panose="020B0502040204020203" pitchFamily="34" charset="0"/>
              </a:rPr>
              <a:t>кв.м</a:t>
            </a:r>
            <a:r>
              <a:rPr lang="ru-RU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endParaRPr lang="ru-RU" sz="1400" spc="7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59348" y="3611371"/>
            <a:ext cx="218438" cy="218438"/>
          </a:xfrm>
          <a:prstGeom prst="rect">
            <a:avLst/>
          </a:prstGeom>
        </p:spPr>
      </p:pic>
      <p:sp>
        <p:nvSpPr>
          <p:cNvPr id="20" name="Прямоугольник 19"/>
          <p:cNvSpPr/>
          <p:nvPr/>
        </p:nvSpPr>
        <p:spPr>
          <a:xfrm>
            <a:off x="9556867" y="4878001"/>
            <a:ext cx="1874073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</a:t>
            </a:r>
            <a:r>
              <a:rPr lang="ru-RU" sz="14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ртнеры – торговые сети</a:t>
            </a:r>
            <a:r>
              <a:rPr lang="en-US" sz="14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«Магнит</a:t>
            </a: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» </a:t>
            </a:r>
            <a:r>
              <a:rPr lang="ru-RU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«Пятерочка</a:t>
            </a:r>
            <a:r>
              <a:rPr lang="ru-RU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»</a:t>
            </a:r>
            <a:endParaRPr lang="ru-RU" sz="1400" spc="7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9556867" y="4127946"/>
            <a:ext cx="207441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dirty="0">
                <a:latin typeface="Segoe UI" panose="020B0502040204020203" pitchFamily="34" charset="0"/>
                <a:cs typeface="Segoe UI" panose="020B0502040204020203" pitchFamily="34" charset="0"/>
              </a:rPr>
              <a:t>о</a:t>
            </a:r>
            <a:r>
              <a:rPr lang="ru-RU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стровок </a:t>
            </a:r>
            <a:br>
              <a:rPr lang="ru-RU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объединяет в среднем </a:t>
            </a:r>
            <a:br>
              <a:rPr lang="ru-RU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dirty="0" smtClean="0">
                <a:latin typeface="Segoe UI" panose="020B0502040204020203" pitchFamily="34" charset="0"/>
                <a:cs typeface="Segoe UI" panose="020B0502040204020203" pitchFamily="34" charset="0"/>
              </a:rPr>
              <a:t>10-25 фермеров</a:t>
            </a:r>
            <a:endParaRPr lang="ru-RU" sz="1400" spc="7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6" name="Рисунок 2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952" y="4975083"/>
            <a:ext cx="198834" cy="218437"/>
          </a:xfrm>
          <a:prstGeom prst="rect">
            <a:avLst/>
          </a:prstGeom>
        </p:spPr>
      </p:pic>
      <p:pic>
        <p:nvPicPr>
          <p:cNvPr id="27" name="Рисунок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8952" y="4208953"/>
            <a:ext cx="198834" cy="218437"/>
          </a:xfrm>
          <a:prstGeom prst="rect">
            <a:avLst/>
          </a:prstGeom>
        </p:spPr>
      </p:pic>
      <p:sp>
        <p:nvSpPr>
          <p:cNvPr id="29" name="Прямоугольник 28"/>
          <p:cNvSpPr/>
          <p:nvPr/>
        </p:nvSpPr>
        <p:spPr>
          <a:xfrm>
            <a:off x="5960884" y="3514340"/>
            <a:ext cx="2807869" cy="2585323"/>
          </a:xfrm>
          <a:prstGeom prst="rect">
            <a:avLst/>
          </a:prstGeom>
        </p:spPr>
        <p:txBody>
          <a:bodyPr wrap="square" lIns="0" tIns="0" rIns="0" bIns="0" numCol="1" spcCol="180000">
            <a:spAutoFit/>
          </a:bodyPr>
          <a:lstStyle/>
          <a:p>
            <a:pPr marL="180975" indent="-180975">
              <a:spcAft>
                <a:spcPts val="1000"/>
              </a:spcAft>
              <a:buClr>
                <a:srgbClr val="FF6464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300" spc="7" dirty="0">
                <a:latin typeface="Segoe UI" panose="020B0502040204020203" pitchFamily="34" charset="0"/>
                <a:cs typeface="Segoe UI" panose="020B0502040204020203" pitchFamily="34" charset="0"/>
              </a:rPr>
              <a:t>«Проходимые» локации </a:t>
            </a:r>
            <a: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с </a:t>
            </a:r>
            <a:r>
              <a:rPr lang="ru-RU" sz="1300" spc="7" dirty="0">
                <a:latin typeface="Segoe UI" panose="020B0502040204020203" pitchFamily="34" charset="0"/>
                <a:cs typeface="Segoe UI" panose="020B0502040204020203" pitchFamily="34" charset="0"/>
              </a:rPr>
              <a:t>достаточным уровнем </a:t>
            </a:r>
            <a: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среднего чека</a:t>
            </a:r>
            <a:endParaRPr lang="en-US" sz="1300" spc="7" dirty="0" smtClean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80975" indent="-180975">
              <a:spcAft>
                <a:spcPts val="1000"/>
              </a:spcAft>
              <a:buClr>
                <a:srgbClr val="FF6464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300" spc="7" dirty="0">
                <a:latin typeface="Segoe UI" panose="020B0502040204020203" pitchFamily="34" charset="0"/>
                <a:cs typeface="Segoe UI" panose="020B0502040204020203" pitchFamily="34" charset="0"/>
              </a:rPr>
              <a:t>Специальные условия </a:t>
            </a:r>
            <a: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аренды</a:t>
            </a:r>
          </a:p>
          <a:p>
            <a:pPr marL="180975" indent="-180975">
              <a:spcAft>
                <a:spcPts val="1000"/>
              </a:spcAft>
              <a:buClr>
                <a:srgbClr val="FF6464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300" spc="7" dirty="0">
                <a:latin typeface="Segoe UI" panose="020B0502040204020203" pitchFamily="34" charset="0"/>
                <a:cs typeface="Segoe UI" panose="020B0502040204020203" pitchFamily="34" charset="0"/>
              </a:rPr>
              <a:t>Кредитование в МСП Банке </a:t>
            </a:r>
            <a: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по </a:t>
            </a:r>
            <a:r>
              <a:rPr lang="ru-RU" sz="1300" spc="7" dirty="0">
                <a:latin typeface="Segoe UI" panose="020B0502040204020203" pitchFamily="34" charset="0"/>
                <a:cs typeface="Segoe UI" panose="020B0502040204020203" pitchFamily="34" charset="0"/>
              </a:rPr>
              <a:t>льготной ставке без залога </a:t>
            </a:r>
            <a: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на </a:t>
            </a:r>
            <a:r>
              <a:rPr lang="ru-RU" sz="1300" spc="7" dirty="0">
                <a:latin typeface="Segoe UI" panose="020B0502040204020203" pitchFamily="34" charset="0"/>
                <a:cs typeface="Segoe UI" panose="020B0502040204020203" pitchFamily="34" charset="0"/>
              </a:rPr>
              <a:t>3 года на оборудование </a:t>
            </a:r>
            <a: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300" spc="7" dirty="0">
                <a:latin typeface="Segoe UI" panose="020B0502040204020203" pitchFamily="34" charset="0"/>
                <a:cs typeface="Segoe UI" panose="020B0502040204020203" pitchFamily="34" charset="0"/>
              </a:rPr>
              <a:t>оборотные средства </a:t>
            </a:r>
          </a:p>
          <a:p>
            <a:pPr marL="180975" indent="-180975">
              <a:spcAft>
                <a:spcPts val="1000"/>
              </a:spcAft>
              <a:buClr>
                <a:srgbClr val="FF6464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Дизайнерское </a:t>
            </a:r>
            <a:r>
              <a:rPr lang="ru-RU" sz="1300" spc="7" dirty="0">
                <a:latin typeface="Segoe UI" panose="020B0502040204020203" pitchFamily="34" charset="0"/>
                <a:cs typeface="Segoe UI" panose="020B0502040204020203" pitchFamily="34" charset="0"/>
              </a:rPr>
              <a:t>решение </a:t>
            </a:r>
            <a: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для </a:t>
            </a:r>
            <a:r>
              <a:rPr lang="ru-RU" sz="1300" spc="7" dirty="0">
                <a:latin typeface="Segoe UI" panose="020B0502040204020203" pitchFamily="34" charset="0"/>
                <a:cs typeface="Segoe UI" panose="020B0502040204020203" pitchFamily="34" charset="0"/>
              </a:rPr>
              <a:t>сокращения расходов </a:t>
            </a:r>
            <a: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3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на застройку</a:t>
            </a:r>
            <a:endParaRPr lang="ru-RU" sz="13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5921321" y="3445256"/>
            <a:ext cx="5575354" cy="0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814711" y="5539772"/>
            <a:ext cx="3950813" cy="0"/>
          </a:xfrm>
          <a:prstGeom prst="line">
            <a:avLst/>
          </a:prstGeom>
          <a:ln w="1270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Прямоугольник 29"/>
          <p:cNvSpPr/>
          <p:nvPr/>
        </p:nvSpPr>
        <p:spPr>
          <a:xfrm>
            <a:off x="745220" y="327804"/>
            <a:ext cx="4301233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dirty="0" smtClean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Рынки </a:t>
            </a:r>
            <a:r>
              <a:rPr kumimoji="0" lang="ru-RU" sz="1300" b="0" i="0" u="none" strike="noStrike" kern="1200" cap="none" spc="0" normalizeH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быт</a:t>
            </a:r>
            <a:r>
              <a:rPr lang="ru-RU" sz="13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а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23355" y="328514"/>
            <a:ext cx="2777181" cy="942273"/>
          </a:xfrm>
          <a:prstGeom prst="rect">
            <a:avLst/>
          </a:prstGeom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42428" y="2557595"/>
            <a:ext cx="2084503" cy="1581190"/>
          </a:xfrm>
          <a:prstGeom prst="rect">
            <a:avLst/>
          </a:prstGeom>
        </p:spPr>
      </p:pic>
      <p:pic>
        <p:nvPicPr>
          <p:cNvPr id="37" name="Рисунок 3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4477" y="763846"/>
            <a:ext cx="2102866" cy="1672986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977"/>
          <a:stretch/>
        </p:blipFill>
        <p:spPr>
          <a:xfrm>
            <a:off x="745220" y="2557595"/>
            <a:ext cx="2102866" cy="1568469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44" r="3242"/>
          <a:stretch/>
        </p:blipFill>
        <p:spPr>
          <a:xfrm>
            <a:off x="3036065" y="749520"/>
            <a:ext cx="2072358" cy="1687312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sp>
        <p:nvSpPr>
          <p:cNvPr id="41" name="Полилиния 40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51954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560225" y="5639486"/>
            <a:ext cx="374990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ельхозтоваропроизводителей</a:t>
            </a:r>
            <a:r>
              <a:rPr lang="ru-RU" sz="16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являются поставщиками «Фермерских островков»</a:t>
            </a:r>
          </a:p>
        </p:txBody>
      </p:sp>
      <p:pic>
        <p:nvPicPr>
          <p:cNvPr id="42" name="Рисунок 41"/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0900742" y="306999"/>
            <a:ext cx="604745" cy="3225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883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 flipH="1">
            <a:off x="5405120" y="0"/>
            <a:ext cx="678688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0946796" y="6446612"/>
            <a:ext cx="68829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5</a:t>
            </a:r>
            <a:endParaRPr lang="ru-RU" sz="1200" dirty="0">
              <a:solidFill>
                <a:schemeClr val="bg1">
                  <a:lumMod val="9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6898640" y="1448538"/>
            <a:ext cx="4727155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рупных производств и торговых компаний из России </a:t>
            </a:r>
            <a:r>
              <a:rPr lang="ru-RU" sz="1400" spc="7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400" spc="7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400" spc="7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з-за рубежа ищут МСП-поставщиков непродовольственных товаров и промышленной продукции, в том числе для импортозамещения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026930" y="800556"/>
            <a:ext cx="581026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280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Спрос</a:t>
            </a:r>
            <a:endParaRPr lang="ru-RU" sz="2800" spc="-70" dirty="0">
              <a:gradFill>
                <a:gsLst>
                  <a:gs pos="0">
                    <a:srgbClr val="FF6464"/>
                  </a:gs>
                  <a:gs pos="100000">
                    <a:schemeClr val="bg2"/>
                  </a:gs>
                </a:gsLst>
                <a:lin ang="0" scaled="0"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721306" y="2403256"/>
            <a:ext cx="4436770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spc="-5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ервис</a:t>
            </a:r>
            <a:r>
              <a:rPr lang="ru-RU" sz="1600" spc="-5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, открывающий доступ производителям </a:t>
            </a:r>
            <a:r>
              <a:rPr lang="ru-RU" sz="1600" spc="-5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роизводственных товаров и промышленной продукции к торговым сетям и крупным покупателям</a:t>
            </a:r>
            <a:endParaRPr lang="ru-RU" sz="1600" spc="-50" dirty="0"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45220" y="614657"/>
            <a:ext cx="4556754" cy="17235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defRPr/>
            </a:pPr>
            <a:r>
              <a:rPr lang="ru-RU" sz="3200" spc="-150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ромышленным компаниям: </a:t>
            </a:r>
            <a:r>
              <a:rPr lang="ru-RU" sz="2400" spc="-100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тать поставщиком ритейлеров </a:t>
            </a:r>
          </a:p>
          <a:p>
            <a:pPr marR="2786" lvl="0">
              <a:defRPr/>
            </a:pPr>
            <a:r>
              <a:rPr lang="ru-RU" sz="2400" spc="-100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и производителей</a:t>
            </a:r>
            <a:endParaRPr lang="ru-RU" sz="2400" spc="-100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7332794" y="2480414"/>
            <a:ext cx="462428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800"/>
              </a:spcAft>
            </a:pPr>
            <a:r>
              <a:rPr lang="ru-RU" sz="1400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оменклатурных позиций, по которым требуются российские поставщики </a:t>
            </a: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0901287" y="306998"/>
            <a:ext cx="595388" cy="307659"/>
          </a:xfrm>
          <a:prstGeom prst="rect">
            <a:avLst/>
          </a:prstGeom>
        </p:spPr>
      </p:pic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025465" y="1424477"/>
            <a:ext cx="124568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2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200" spc="7" dirty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6</a:t>
            </a:r>
            <a:r>
              <a:rPr lang="en-US" sz="32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0</a:t>
            </a:r>
            <a:endParaRPr lang="ru-RU" sz="3200" spc="7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025465" y="2437557"/>
            <a:ext cx="177087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32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2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5500</a:t>
            </a:r>
            <a:endParaRPr lang="ru-RU" sz="3200" spc="7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29" name="Picture 2">
            <a:extLst>
              <a:ext uri="{FF2B5EF4-FFF2-40B4-BE49-F238E27FC236}">
                <a16:creationId xmlns:a16="http://schemas.microsoft.com/office/drawing/2014/main" id="{5982BFC1-472F-4BB6-A9F1-F8DA3570C5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298084" y="3577125"/>
            <a:ext cx="673647" cy="3368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916397" y="3588086"/>
            <a:ext cx="516229" cy="314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Полилиния 44"/>
          <p:cNvSpPr/>
          <p:nvPr/>
        </p:nvSpPr>
        <p:spPr>
          <a:xfrm>
            <a:off x="3050652" y="3546645"/>
            <a:ext cx="1087443" cy="439608"/>
          </a:xfrm>
          <a:custGeom>
            <a:avLst/>
            <a:gdLst>
              <a:gd name="connsiteX0" fmla="*/ 254947 w 1337274"/>
              <a:gd name="connsiteY0" fmla="*/ 0 h 509892"/>
              <a:gd name="connsiteX1" fmla="*/ 255223 w 1337274"/>
              <a:gd name="connsiteY1" fmla="*/ 0 h 509892"/>
              <a:gd name="connsiteX2" fmla="*/ 257162 w 1337274"/>
              <a:gd name="connsiteY2" fmla="*/ 0 h 509892"/>
              <a:gd name="connsiteX3" fmla="*/ 257172 w 1337274"/>
              <a:gd name="connsiteY3" fmla="*/ 0 h 509892"/>
              <a:gd name="connsiteX4" fmla="*/ 261533 w 1337274"/>
              <a:gd name="connsiteY4" fmla="*/ 0 h 509892"/>
              <a:gd name="connsiteX5" fmla="*/ 261544 w 1337274"/>
              <a:gd name="connsiteY5" fmla="*/ 0 h 509892"/>
              <a:gd name="connsiteX6" fmla="*/ 273836 w 1337274"/>
              <a:gd name="connsiteY6" fmla="*/ 0 h 509892"/>
              <a:gd name="connsiteX7" fmla="*/ 278208 w 1337274"/>
              <a:gd name="connsiteY7" fmla="*/ 0 h 509892"/>
              <a:gd name="connsiteX8" fmla="*/ 280145 w 1337274"/>
              <a:gd name="connsiteY8" fmla="*/ 0 h 509892"/>
              <a:gd name="connsiteX9" fmla="*/ 291174 w 1337274"/>
              <a:gd name="connsiteY9" fmla="*/ 0 h 509892"/>
              <a:gd name="connsiteX10" fmla="*/ 298100 w 1337274"/>
              <a:gd name="connsiteY10" fmla="*/ 0 h 509892"/>
              <a:gd name="connsiteX11" fmla="*/ 302471 w 1337274"/>
              <a:gd name="connsiteY11" fmla="*/ 0 h 509892"/>
              <a:gd name="connsiteX12" fmla="*/ 304697 w 1337274"/>
              <a:gd name="connsiteY12" fmla="*/ 0 h 509892"/>
              <a:gd name="connsiteX13" fmla="*/ 309068 w 1337274"/>
              <a:gd name="connsiteY13" fmla="*/ 0 h 509892"/>
              <a:gd name="connsiteX14" fmla="*/ 317767 w 1337274"/>
              <a:gd name="connsiteY14" fmla="*/ 0 h 509892"/>
              <a:gd name="connsiteX15" fmla="*/ 321084 w 1337274"/>
              <a:gd name="connsiteY15" fmla="*/ 0 h 509892"/>
              <a:gd name="connsiteX16" fmla="*/ 321361 w 1337274"/>
              <a:gd name="connsiteY16" fmla="*/ 0 h 509892"/>
              <a:gd name="connsiteX17" fmla="*/ 324363 w 1337274"/>
              <a:gd name="connsiteY17" fmla="*/ 0 h 509892"/>
              <a:gd name="connsiteX18" fmla="*/ 325732 w 1337274"/>
              <a:gd name="connsiteY18" fmla="*/ 0 h 509892"/>
              <a:gd name="connsiteX19" fmla="*/ 327670 w 1337274"/>
              <a:gd name="connsiteY19" fmla="*/ 0 h 509892"/>
              <a:gd name="connsiteX20" fmla="*/ 327680 w 1337274"/>
              <a:gd name="connsiteY20" fmla="*/ 0 h 509892"/>
              <a:gd name="connsiteX21" fmla="*/ 338698 w 1337274"/>
              <a:gd name="connsiteY21" fmla="*/ 0 h 509892"/>
              <a:gd name="connsiteX22" fmla="*/ 341028 w 1337274"/>
              <a:gd name="connsiteY22" fmla="*/ 0 h 509892"/>
              <a:gd name="connsiteX23" fmla="*/ 344345 w 1337274"/>
              <a:gd name="connsiteY23" fmla="*/ 0 h 509892"/>
              <a:gd name="connsiteX24" fmla="*/ 357311 w 1337274"/>
              <a:gd name="connsiteY24" fmla="*/ 0 h 509892"/>
              <a:gd name="connsiteX25" fmla="*/ 361682 w 1337274"/>
              <a:gd name="connsiteY25" fmla="*/ 0 h 509892"/>
              <a:gd name="connsiteX26" fmla="*/ 365291 w 1337274"/>
              <a:gd name="connsiteY26" fmla="*/ 0 h 509892"/>
              <a:gd name="connsiteX27" fmla="*/ 365302 w 1337274"/>
              <a:gd name="connsiteY27" fmla="*/ 0 h 509892"/>
              <a:gd name="connsiteX28" fmla="*/ 368609 w 1337274"/>
              <a:gd name="connsiteY28" fmla="*/ 0 h 509892"/>
              <a:gd name="connsiteX29" fmla="*/ 371887 w 1337274"/>
              <a:gd name="connsiteY29" fmla="*/ 0 h 509892"/>
              <a:gd name="connsiteX30" fmla="*/ 375205 w 1337274"/>
              <a:gd name="connsiteY30" fmla="*/ 0 h 509892"/>
              <a:gd name="connsiteX31" fmla="*/ 381966 w 1337274"/>
              <a:gd name="connsiteY31" fmla="*/ 0 h 509892"/>
              <a:gd name="connsiteX32" fmla="*/ 383903 w 1337274"/>
              <a:gd name="connsiteY32" fmla="*/ 0 h 509892"/>
              <a:gd name="connsiteX33" fmla="*/ 388275 w 1337274"/>
              <a:gd name="connsiteY33" fmla="*/ 0 h 509892"/>
              <a:gd name="connsiteX34" fmla="*/ 388551 w 1337274"/>
              <a:gd name="connsiteY34" fmla="*/ 0 h 509892"/>
              <a:gd name="connsiteX35" fmla="*/ 388562 w 1337274"/>
              <a:gd name="connsiteY35" fmla="*/ 0 h 509892"/>
              <a:gd name="connsiteX36" fmla="*/ 390501 w 1337274"/>
              <a:gd name="connsiteY36" fmla="*/ 0 h 509892"/>
              <a:gd name="connsiteX37" fmla="*/ 391870 w 1337274"/>
              <a:gd name="connsiteY37" fmla="*/ 0 h 509892"/>
              <a:gd name="connsiteX38" fmla="*/ 394872 w 1337274"/>
              <a:gd name="connsiteY38" fmla="*/ 0 h 509892"/>
              <a:gd name="connsiteX39" fmla="*/ 404836 w 1337274"/>
              <a:gd name="connsiteY39" fmla="*/ 0 h 509892"/>
              <a:gd name="connsiteX40" fmla="*/ 407164 w 1337274"/>
              <a:gd name="connsiteY40" fmla="*/ 0 h 509892"/>
              <a:gd name="connsiteX41" fmla="*/ 409206 w 1337274"/>
              <a:gd name="connsiteY41" fmla="*/ 0 h 509892"/>
              <a:gd name="connsiteX42" fmla="*/ 411536 w 1337274"/>
              <a:gd name="connsiteY42" fmla="*/ 0 h 509892"/>
              <a:gd name="connsiteX43" fmla="*/ 412826 w 1337274"/>
              <a:gd name="connsiteY43" fmla="*/ 0 h 509892"/>
              <a:gd name="connsiteX44" fmla="*/ 420720 w 1337274"/>
              <a:gd name="connsiteY44" fmla="*/ 0 h 509892"/>
              <a:gd name="connsiteX45" fmla="*/ 420996 w 1337274"/>
              <a:gd name="connsiteY45" fmla="*/ 0 h 509892"/>
              <a:gd name="connsiteX46" fmla="*/ 422935 w 1337274"/>
              <a:gd name="connsiteY46" fmla="*/ 0 h 509892"/>
              <a:gd name="connsiteX47" fmla="*/ 422945 w 1337274"/>
              <a:gd name="connsiteY47" fmla="*/ 0 h 509892"/>
              <a:gd name="connsiteX48" fmla="*/ 424503 w 1337274"/>
              <a:gd name="connsiteY48" fmla="*/ 0 h 509892"/>
              <a:gd name="connsiteX49" fmla="*/ 427306 w 1337274"/>
              <a:gd name="connsiteY49" fmla="*/ 0 h 509892"/>
              <a:gd name="connsiteX50" fmla="*/ 427317 w 1337274"/>
              <a:gd name="connsiteY50" fmla="*/ 0 h 509892"/>
              <a:gd name="connsiteX51" fmla="*/ 427820 w 1337274"/>
              <a:gd name="connsiteY51" fmla="*/ 0 h 509892"/>
              <a:gd name="connsiteX52" fmla="*/ 429490 w 1337274"/>
              <a:gd name="connsiteY52" fmla="*/ 0 h 509892"/>
              <a:gd name="connsiteX53" fmla="*/ 431428 w 1337274"/>
              <a:gd name="connsiteY53" fmla="*/ 0 h 509892"/>
              <a:gd name="connsiteX54" fmla="*/ 431438 w 1337274"/>
              <a:gd name="connsiteY54" fmla="*/ 0 h 509892"/>
              <a:gd name="connsiteX55" fmla="*/ 435799 w 1337274"/>
              <a:gd name="connsiteY55" fmla="*/ 0 h 509892"/>
              <a:gd name="connsiteX56" fmla="*/ 435810 w 1337274"/>
              <a:gd name="connsiteY56" fmla="*/ 0 h 509892"/>
              <a:gd name="connsiteX57" fmla="*/ 436086 w 1337274"/>
              <a:gd name="connsiteY57" fmla="*/ 0 h 509892"/>
              <a:gd name="connsiteX58" fmla="*/ 438026 w 1337274"/>
              <a:gd name="connsiteY58" fmla="*/ 0 h 509892"/>
              <a:gd name="connsiteX59" fmla="*/ 439609 w 1337274"/>
              <a:gd name="connsiteY59" fmla="*/ 0 h 509892"/>
              <a:gd name="connsiteX60" fmla="*/ 442396 w 1337274"/>
              <a:gd name="connsiteY60" fmla="*/ 0 h 509892"/>
              <a:gd name="connsiteX61" fmla="*/ 443981 w 1337274"/>
              <a:gd name="connsiteY61" fmla="*/ 0 h 509892"/>
              <a:gd name="connsiteX62" fmla="*/ 445918 w 1337274"/>
              <a:gd name="connsiteY62" fmla="*/ 0 h 509892"/>
              <a:gd name="connsiteX63" fmla="*/ 448103 w 1337274"/>
              <a:gd name="connsiteY63" fmla="*/ 0 h 509892"/>
              <a:gd name="connsiteX64" fmla="*/ 452475 w 1337274"/>
              <a:gd name="connsiteY64" fmla="*/ 0 h 509892"/>
              <a:gd name="connsiteX65" fmla="*/ 454412 w 1337274"/>
              <a:gd name="connsiteY65" fmla="*/ 0 h 509892"/>
              <a:gd name="connsiteX66" fmla="*/ 454689 w 1337274"/>
              <a:gd name="connsiteY66" fmla="*/ 0 h 509892"/>
              <a:gd name="connsiteX67" fmla="*/ 454699 w 1337274"/>
              <a:gd name="connsiteY67" fmla="*/ 0 h 509892"/>
              <a:gd name="connsiteX68" fmla="*/ 456947 w 1337274"/>
              <a:gd name="connsiteY68" fmla="*/ 0 h 509892"/>
              <a:gd name="connsiteX69" fmla="*/ 459060 w 1337274"/>
              <a:gd name="connsiteY69" fmla="*/ 0 h 509892"/>
              <a:gd name="connsiteX70" fmla="*/ 459071 w 1337274"/>
              <a:gd name="connsiteY70" fmla="*/ 0 h 509892"/>
              <a:gd name="connsiteX71" fmla="*/ 461009 w 1337274"/>
              <a:gd name="connsiteY71" fmla="*/ 0 h 509892"/>
              <a:gd name="connsiteX72" fmla="*/ 463873 w 1337274"/>
              <a:gd name="connsiteY72" fmla="*/ 0 h 509892"/>
              <a:gd name="connsiteX73" fmla="*/ 465440 w 1337274"/>
              <a:gd name="connsiteY73" fmla="*/ 0 h 509892"/>
              <a:gd name="connsiteX74" fmla="*/ 468244 w 1337274"/>
              <a:gd name="connsiteY74" fmla="*/ 0 h 509892"/>
              <a:gd name="connsiteX75" fmla="*/ 470470 w 1337274"/>
              <a:gd name="connsiteY75" fmla="*/ 0 h 509892"/>
              <a:gd name="connsiteX76" fmla="*/ 472027 w 1337274"/>
              <a:gd name="connsiteY76" fmla="*/ 0 h 509892"/>
              <a:gd name="connsiteX77" fmla="*/ 472038 w 1337274"/>
              <a:gd name="connsiteY77" fmla="*/ 0 h 509892"/>
              <a:gd name="connsiteX78" fmla="*/ 474841 w 1337274"/>
              <a:gd name="connsiteY78" fmla="*/ 0 h 509892"/>
              <a:gd name="connsiteX79" fmla="*/ 475345 w 1337274"/>
              <a:gd name="connsiteY79" fmla="*/ 0 h 509892"/>
              <a:gd name="connsiteX80" fmla="*/ 477673 w 1337274"/>
              <a:gd name="connsiteY80" fmla="*/ 0 h 509892"/>
              <a:gd name="connsiteX81" fmla="*/ 478963 w 1337274"/>
              <a:gd name="connsiteY81" fmla="*/ 0 h 509892"/>
              <a:gd name="connsiteX82" fmla="*/ 483334 w 1337274"/>
              <a:gd name="connsiteY82" fmla="*/ 0 h 509892"/>
              <a:gd name="connsiteX83" fmla="*/ 483540 w 1337274"/>
              <a:gd name="connsiteY83" fmla="*/ 0 h 509892"/>
              <a:gd name="connsiteX84" fmla="*/ 486857 w 1337274"/>
              <a:gd name="connsiteY84" fmla="*/ 0 h 509892"/>
              <a:gd name="connsiteX85" fmla="*/ 487134 w 1337274"/>
              <a:gd name="connsiteY85" fmla="*/ 0 h 509892"/>
              <a:gd name="connsiteX86" fmla="*/ 488701 w 1337274"/>
              <a:gd name="connsiteY86" fmla="*/ 0 h 509892"/>
              <a:gd name="connsiteX87" fmla="*/ 490136 w 1337274"/>
              <a:gd name="connsiteY87" fmla="*/ 0 h 509892"/>
              <a:gd name="connsiteX88" fmla="*/ 490639 w 1337274"/>
              <a:gd name="connsiteY88" fmla="*/ 0 h 509892"/>
              <a:gd name="connsiteX89" fmla="*/ 491505 w 1337274"/>
              <a:gd name="connsiteY89" fmla="*/ 0 h 509892"/>
              <a:gd name="connsiteX90" fmla="*/ 493443 w 1337274"/>
              <a:gd name="connsiteY90" fmla="*/ 0 h 509892"/>
              <a:gd name="connsiteX91" fmla="*/ 493453 w 1337274"/>
              <a:gd name="connsiteY91" fmla="*/ 0 h 509892"/>
              <a:gd name="connsiteX92" fmla="*/ 495012 w 1337274"/>
              <a:gd name="connsiteY92" fmla="*/ 0 h 509892"/>
              <a:gd name="connsiteX93" fmla="*/ 495628 w 1337274"/>
              <a:gd name="connsiteY93" fmla="*/ 0 h 509892"/>
              <a:gd name="connsiteX94" fmla="*/ 498630 w 1337274"/>
              <a:gd name="connsiteY94" fmla="*/ 0 h 509892"/>
              <a:gd name="connsiteX95" fmla="*/ 499999 w 1337274"/>
              <a:gd name="connsiteY95" fmla="*/ 0 h 509892"/>
              <a:gd name="connsiteX96" fmla="*/ 501937 w 1337274"/>
              <a:gd name="connsiteY96" fmla="*/ 0 h 509892"/>
              <a:gd name="connsiteX97" fmla="*/ 501947 w 1337274"/>
              <a:gd name="connsiteY97" fmla="*/ 0 h 509892"/>
              <a:gd name="connsiteX98" fmla="*/ 502224 w 1337274"/>
              <a:gd name="connsiteY98" fmla="*/ 0 h 509892"/>
              <a:gd name="connsiteX99" fmla="*/ 504471 w 1337274"/>
              <a:gd name="connsiteY99" fmla="*/ 0 h 509892"/>
              <a:gd name="connsiteX100" fmla="*/ 506595 w 1337274"/>
              <a:gd name="connsiteY100" fmla="*/ 0 h 509892"/>
              <a:gd name="connsiteX101" fmla="*/ 506801 w 1337274"/>
              <a:gd name="connsiteY101" fmla="*/ 0 h 509892"/>
              <a:gd name="connsiteX102" fmla="*/ 508534 w 1337274"/>
              <a:gd name="connsiteY102" fmla="*/ 0 h 509892"/>
              <a:gd name="connsiteX103" fmla="*/ 510118 w 1337274"/>
              <a:gd name="connsiteY103" fmla="*/ 0 h 509892"/>
              <a:gd name="connsiteX104" fmla="*/ 512964 w 1337274"/>
              <a:gd name="connsiteY104" fmla="*/ 0 h 509892"/>
              <a:gd name="connsiteX105" fmla="*/ 515294 w 1337274"/>
              <a:gd name="connsiteY105" fmla="*/ 0 h 509892"/>
              <a:gd name="connsiteX106" fmla="*/ 518611 w 1337274"/>
              <a:gd name="connsiteY106" fmla="*/ 0 h 509892"/>
              <a:gd name="connsiteX107" fmla="*/ 519562 w 1337274"/>
              <a:gd name="connsiteY107" fmla="*/ 0 h 509892"/>
              <a:gd name="connsiteX108" fmla="*/ 521890 w 1337274"/>
              <a:gd name="connsiteY108" fmla="*/ 0 h 509892"/>
              <a:gd name="connsiteX109" fmla="*/ 523084 w 1337274"/>
              <a:gd name="connsiteY109" fmla="*/ 0 h 509892"/>
              <a:gd name="connsiteX110" fmla="*/ 525198 w 1337274"/>
              <a:gd name="connsiteY110" fmla="*/ 0 h 509892"/>
              <a:gd name="connsiteX111" fmla="*/ 525208 w 1337274"/>
              <a:gd name="connsiteY111" fmla="*/ 0 h 509892"/>
              <a:gd name="connsiteX112" fmla="*/ 527455 w 1337274"/>
              <a:gd name="connsiteY112" fmla="*/ 0 h 509892"/>
              <a:gd name="connsiteX113" fmla="*/ 531064 w 1337274"/>
              <a:gd name="connsiteY113" fmla="*/ 0 h 509892"/>
              <a:gd name="connsiteX114" fmla="*/ 531075 w 1337274"/>
              <a:gd name="connsiteY114" fmla="*/ 0 h 509892"/>
              <a:gd name="connsiteX115" fmla="*/ 531578 w 1337274"/>
              <a:gd name="connsiteY115" fmla="*/ 0 h 509892"/>
              <a:gd name="connsiteX116" fmla="*/ 534382 w 1337274"/>
              <a:gd name="connsiteY116" fmla="*/ 0 h 509892"/>
              <a:gd name="connsiteX117" fmla="*/ 535949 w 1337274"/>
              <a:gd name="connsiteY117" fmla="*/ 0 h 509892"/>
              <a:gd name="connsiteX118" fmla="*/ 536226 w 1337274"/>
              <a:gd name="connsiteY118" fmla="*/ 0 h 509892"/>
              <a:gd name="connsiteX119" fmla="*/ 537660 w 1337274"/>
              <a:gd name="connsiteY119" fmla="*/ 0 h 509892"/>
              <a:gd name="connsiteX120" fmla="*/ 538165 w 1337274"/>
              <a:gd name="connsiteY120" fmla="*/ 0 h 509892"/>
              <a:gd name="connsiteX121" fmla="*/ 538174 w 1337274"/>
              <a:gd name="connsiteY121" fmla="*/ 0 h 509892"/>
              <a:gd name="connsiteX122" fmla="*/ 540978 w 1337274"/>
              <a:gd name="connsiteY122" fmla="*/ 0 h 509892"/>
              <a:gd name="connsiteX123" fmla="*/ 542535 w 1337274"/>
              <a:gd name="connsiteY123" fmla="*/ 0 h 509892"/>
              <a:gd name="connsiteX124" fmla="*/ 542546 w 1337274"/>
              <a:gd name="connsiteY124" fmla="*/ 0 h 509892"/>
              <a:gd name="connsiteX125" fmla="*/ 546154 w 1337274"/>
              <a:gd name="connsiteY125" fmla="*/ 0 h 509892"/>
              <a:gd name="connsiteX126" fmla="*/ 547739 w 1337274"/>
              <a:gd name="connsiteY126" fmla="*/ 0 h 509892"/>
              <a:gd name="connsiteX127" fmla="*/ 549472 w 1337274"/>
              <a:gd name="connsiteY127" fmla="*/ 0 h 509892"/>
              <a:gd name="connsiteX128" fmla="*/ 549676 w 1337274"/>
              <a:gd name="connsiteY128" fmla="*/ 0 h 509892"/>
              <a:gd name="connsiteX129" fmla="*/ 554048 w 1337274"/>
              <a:gd name="connsiteY129" fmla="*/ 0 h 509892"/>
              <a:gd name="connsiteX130" fmla="*/ 554324 w 1337274"/>
              <a:gd name="connsiteY130" fmla="*/ 0 h 509892"/>
              <a:gd name="connsiteX131" fmla="*/ 554335 w 1337274"/>
              <a:gd name="connsiteY131" fmla="*/ 0 h 509892"/>
              <a:gd name="connsiteX132" fmla="*/ 554839 w 1337274"/>
              <a:gd name="connsiteY132" fmla="*/ 0 h 509892"/>
              <a:gd name="connsiteX133" fmla="*/ 556274 w 1337274"/>
              <a:gd name="connsiteY133" fmla="*/ 0 h 509892"/>
              <a:gd name="connsiteX134" fmla="*/ 557643 w 1337274"/>
              <a:gd name="connsiteY134" fmla="*/ 0 h 509892"/>
              <a:gd name="connsiteX135" fmla="*/ 559210 w 1337274"/>
              <a:gd name="connsiteY135" fmla="*/ 0 h 509892"/>
              <a:gd name="connsiteX136" fmla="*/ 560645 w 1337274"/>
              <a:gd name="connsiteY136" fmla="*/ 0 h 509892"/>
              <a:gd name="connsiteX137" fmla="*/ 561148 w 1337274"/>
              <a:gd name="connsiteY137" fmla="*/ 0 h 509892"/>
              <a:gd name="connsiteX138" fmla="*/ 562818 w 1337274"/>
              <a:gd name="connsiteY138" fmla="*/ 0 h 509892"/>
              <a:gd name="connsiteX139" fmla="*/ 562829 w 1337274"/>
              <a:gd name="connsiteY139" fmla="*/ 0 h 509892"/>
              <a:gd name="connsiteX140" fmla="*/ 564768 w 1337274"/>
              <a:gd name="connsiteY140" fmla="*/ 0 h 509892"/>
              <a:gd name="connsiteX141" fmla="*/ 566136 w 1337274"/>
              <a:gd name="connsiteY141" fmla="*/ 0 h 509892"/>
              <a:gd name="connsiteX142" fmla="*/ 569138 w 1337274"/>
              <a:gd name="connsiteY142" fmla="*/ 0 h 509892"/>
              <a:gd name="connsiteX143" fmla="*/ 569414 w 1337274"/>
              <a:gd name="connsiteY143" fmla="*/ 0 h 509892"/>
              <a:gd name="connsiteX144" fmla="*/ 570609 w 1337274"/>
              <a:gd name="connsiteY144" fmla="*/ 0 h 509892"/>
              <a:gd name="connsiteX145" fmla="*/ 572733 w 1337274"/>
              <a:gd name="connsiteY145" fmla="*/ 0 h 509892"/>
              <a:gd name="connsiteX146" fmla="*/ 572937 w 1337274"/>
              <a:gd name="connsiteY146" fmla="*/ 0 h 509892"/>
              <a:gd name="connsiteX147" fmla="*/ 574979 w 1337274"/>
              <a:gd name="connsiteY147" fmla="*/ 0 h 509892"/>
              <a:gd name="connsiteX148" fmla="*/ 577309 w 1337274"/>
              <a:gd name="connsiteY148" fmla="*/ 0 h 509892"/>
              <a:gd name="connsiteX149" fmla="*/ 578599 w 1337274"/>
              <a:gd name="connsiteY149" fmla="*/ 0 h 509892"/>
              <a:gd name="connsiteX150" fmla="*/ 579103 w 1337274"/>
              <a:gd name="connsiteY150" fmla="*/ 0 h 509892"/>
              <a:gd name="connsiteX151" fmla="*/ 581431 w 1337274"/>
              <a:gd name="connsiteY151" fmla="*/ 0 h 509892"/>
              <a:gd name="connsiteX152" fmla="*/ 583473 w 1337274"/>
              <a:gd name="connsiteY152" fmla="*/ 0 h 509892"/>
              <a:gd name="connsiteX153" fmla="*/ 585699 w 1337274"/>
              <a:gd name="connsiteY153" fmla="*/ 0 h 509892"/>
              <a:gd name="connsiteX154" fmla="*/ 585803 w 1337274"/>
              <a:gd name="connsiteY154" fmla="*/ 0 h 509892"/>
              <a:gd name="connsiteX155" fmla="*/ 588028 w 1337274"/>
              <a:gd name="connsiteY155" fmla="*/ 0 h 509892"/>
              <a:gd name="connsiteX156" fmla="*/ 590070 w 1337274"/>
              <a:gd name="connsiteY156" fmla="*/ 0 h 509892"/>
              <a:gd name="connsiteX157" fmla="*/ 590276 w 1337274"/>
              <a:gd name="connsiteY157" fmla="*/ 0 h 509892"/>
              <a:gd name="connsiteX158" fmla="*/ 592399 w 1337274"/>
              <a:gd name="connsiteY158" fmla="*/ 0 h 509892"/>
              <a:gd name="connsiteX159" fmla="*/ 593593 w 1337274"/>
              <a:gd name="connsiteY159" fmla="*/ 0 h 509892"/>
              <a:gd name="connsiteX160" fmla="*/ 595263 w 1337274"/>
              <a:gd name="connsiteY160" fmla="*/ 0 h 509892"/>
              <a:gd name="connsiteX161" fmla="*/ 597201 w 1337274"/>
              <a:gd name="connsiteY161" fmla="*/ 0 h 509892"/>
              <a:gd name="connsiteX162" fmla="*/ 597211 w 1337274"/>
              <a:gd name="connsiteY162" fmla="*/ 0 h 509892"/>
              <a:gd name="connsiteX163" fmla="*/ 598770 w 1337274"/>
              <a:gd name="connsiteY163" fmla="*/ 0 h 509892"/>
              <a:gd name="connsiteX164" fmla="*/ 601572 w 1337274"/>
              <a:gd name="connsiteY164" fmla="*/ 0 h 509892"/>
              <a:gd name="connsiteX165" fmla="*/ 601583 w 1337274"/>
              <a:gd name="connsiteY165" fmla="*/ 0 h 509892"/>
              <a:gd name="connsiteX166" fmla="*/ 601859 w 1337274"/>
              <a:gd name="connsiteY166" fmla="*/ 0 h 509892"/>
              <a:gd name="connsiteX167" fmla="*/ 602087 w 1337274"/>
              <a:gd name="connsiteY167" fmla="*/ 0 h 509892"/>
              <a:gd name="connsiteX168" fmla="*/ 602364 w 1337274"/>
              <a:gd name="connsiteY168" fmla="*/ 0 h 509892"/>
              <a:gd name="connsiteX169" fmla="*/ 603799 w 1337274"/>
              <a:gd name="connsiteY169" fmla="*/ 0 h 509892"/>
              <a:gd name="connsiteX170" fmla="*/ 605366 w 1337274"/>
              <a:gd name="connsiteY170" fmla="*/ 0 h 509892"/>
              <a:gd name="connsiteX171" fmla="*/ 606735 w 1337274"/>
              <a:gd name="connsiteY171" fmla="*/ 0 h 509892"/>
              <a:gd name="connsiteX172" fmla="*/ 608169 w 1337274"/>
              <a:gd name="connsiteY172" fmla="*/ 0 h 509892"/>
              <a:gd name="connsiteX173" fmla="*/ 608673 w 1337274"/>
              <a:gd name="connsiteY173" fmla="*/ 0 h 509892"/>
              <a:gd name="connsiteX174" fmla="*/ 608683 w 1337274"/>
              <a:gd name="connsiteY174" fmla="*/ 0 h 509892"/>
              <a:gd name="connsiteX175" fmla="*/ 610353 w 1337274"/>
              <a:gd name="connsiteY175" fmla="*/ 0 h 509892"/>
              <a:gd name="connsiteX176" fmla="*/ 612293 w 1337274"/>
              <a:gd name="connsiteY176" fmla="*/ 0 h 509892"/>
              <a:gd name="connsiteX177" fmla="*/ 613876 w 1337274"/>
              <a:gd name="connsiteY177" fmla="*/ 0 h 509892"/>
              <a:gd name="connsiteX178" fmla="*/ 616662 w 1337274"/>
              <a:gd name="connsiteY178" fmla="*/ 0 h 509892"/>
              <a:gd name="connsiteX179" fmla="*/ 618248 w 1337274"/>
              <a:gd name="connsiteY179" fmla="*/ 0 h 509892"/>
              <a:gd name="connsiteX180" fmla="*/ 620185 w 1337274"/>
              <a:gd name="connsiteY180" fmla="*/ 0 h 509892"/>
              <a:gd name="connsiteX181" fmla="*/ 620462 w 1337274"/>
              <a:gd name="connsiteY181" fmla="*/ 0 h 509892"/>
              <a:gd name="connsiteX182" fmla="*/ 620472 w 1337274"/>
              <a:gd name="connsiteY182" fmla="*/ 0 h 509892"/>
              <a:gd name="connsiteX183" fmla="*/ 622030 w 1337274"/>
              <a:gd name="connsiteY183" fmla="*/ 0 h 509892"/>
              <a:gd name="connsiteX184" fmla="*/ 624833 w 1337274"/>
              <a:gd name="connsiteY184" fmla="*/ 0 h 509892"/>
              <a:gd name="connsiteX185" fmla="*/ 624844 w 1337274"/>
              <a:gd name="connsiteY185" fmla="*/ 0 h 509892"/>
              <a:gd name="connsiteX186" fmla="*/ 625347 w 1337274"/>
              <a:gd name="connsiteY186" fmla="*/ 0 h 509892"/>
              <a:gd name="connsiteX187" fmla="*/ 626782 w 1337274"/>
              <a:gd name="connsiteY187" fmla="*/ 0 h 509892"/>
              <a:gd name="connsiteX188" fmla="*/ 628956 w 1337274"/>
              <a:gd name="connsiteY188" fmla="*/ 0 h 509892"/>
              <a:gd name="connsiteX189" fmla="*/ 628966 w 1337274"/>
              <a:gd name="connsiteY189" fmla="*/ 0 h 509892"/>
              <a:gd name="connsiteX190" fmla="*/ 631213 w 1337274"/>
              <a:gd name="connsiteY190" fmla="*/ 0 h 509892"/>
              <a:gd name="connsiteX191" fmla="*/ 633327 w 1337274"/>
              <a:gd name="connsiteY191" fmla="*/ 0 h 509892"/>
              <a:gd name="connsiteX192" fmla="*/ 633338 w 1337274"/>
              <a:gd name="connsiteY192" fmla="*/ 0 h 509892"/>
              <a:gd name="connsiteX193" fmla="*/ 635276 w 1337274"/>
              <a:gd name="connsiteY193" fmla="*/ 0 h 509892"/>
              <a:gd name="connsiteX194" fmla="*/ 635553 w 1337274"/>
              <a:gd name="connsiteY194" fmla="*/ 0 h 509892"/>
              <a:gd name="connsiteX195" fmla="*/ 637800 w 1337274"/>
              <a:gd name="connsiteY195" fmla="*/ 0 h 509892"/>
              <a:gd name="connsiteX196" fmla="*/ 637811 w 1337274"/>
              <a:gd name="connsiteY196" fmla="*/ 0 h 509892"/>
              <a:gd name="connsiteX197" fmla="*/ 639923 w 1337274"/>
              <a:gd name="connsiteY197" fmla="*/ 0 h 509892"/>
              <a:gd name="connsiteX198" fmla="*/ 641118 w 1337274"/>
              <a:gd name="connsiteY198" fmla="*/ 0 h 509892"/>
              <a:gd name="connsiteX199" fmla="*/ 643446 w 1337274"/>
              <a:gd name="connsiteY199" fmla="*/ 0 h 509892"/>
              <a:gd name="connsiteX200" fmla="*/ 644736 w 1337274"/>
              <a:gd name="connsiteY200" fmla="*/ 0 h 509892"/>
              <a:gd name="connsiteX201" fmla="*/ 646293 w 1337274"/>
              <a:gd name="connsiteY201" fmla="*/ 0 h 509892"/>
              <a:gd name="connsiteX202" fmla="*/ 646304 w 1337274"/>
              <a:gd name="connsiteY202" fmla="*/ 0 h 509892"/>
              <a:gd name="connsiteX203" fmla="*/ 649107 w 1337274"/>
              <a:gd name="connsiteY203" fmla="*/ 0 h 509892"/>
              <a:gd name="connsiteX204" fmla="*/ 649612 w 1337274"/>
              <a:gd name="connsiteY204" fmla="*/ 0 h 509892"/>
              <a:gd name="connsiteX205" fmla="*/ 651940 w 1337274"/>
              <a:gd name="connsiteY205" fmla="*/ 0 h 509892"/>
              <a:gd name="connsiteX206" fmla="*/ 652890 w 1337274"/>
              <a:gd name="connsiteY206" fmla="*/ 0 h 509892"/>
              <a:gd name="connsiteX207" fmla="*/ 654474 w 1337274"/>
              <a:gd name="connsiteY207" fmla="*/ 0 h 509892"/>
              <a:gd name="connsiteX208" fmla="*/ 656208 w 1337274"/>
              <a:gd name="connsiteY208" fmla="*/ 0 h 509892"/>
              <a:gd name="connsiteX209" fmla="*/ 656412 w 1337274"/>
              <a:gd name="connsiteY209" fmla="*/ 0 h 509892"/>
              <a:gd name="connsiteX210" fmla="*/ 658537 w 1337274"/>
              <a:gd name="connsiteY210" fmla="*/ 0 h 509892"/>
              <a:gd name="connsiteX211" fmla="*/ 660785 w 1337274"/>
              <a:gd name="connsiteY211" fmla="*/ 0 h 509892"/>
              <a:gd name="connsiteX212" fmla="*/ 661401 w 1337274"/>
              <a:gd name="connsiteY212" fmla="*/ 0 h 509892"/>
              <a:gd name="connsiteX213" fmla="*/ 662968 w 1337274"/>
              <a:gd name="connsiteY213" fmla="*/ 0 h 509892"/>
              <a:gd name="connsiteX214" fmla="*/ 664403 w 1337274"/>
              <a:gd name="connsiteY214" fmla="*/ 0 h 509892"/>
              <a:gd name="connsiteX215" fmla="*/ 664906 w 1337274"/>
              <a:gd name="connsiteY215" fmla="*/ 0 h 509892"/>
              <a:gd name="connsiteX216" fmla="*/ 665772 w 1337274"/>
              <a:gd name="connsiteY216" fmla="*/ 0 h 509892"/>
              <a:gd name="connsiteX217" fmla="*/ 667710 w 1337274"/>
              <a:gd name="connsiteY217" fmla="*/ 0 h 509892"/>
              <a:gd name="connsiteX218" fmla="*/ 667720 w 1337274"/>
              <a:gd name="connsiteY218" fmla="*/ 0 h 509892"/>
              <a:gd name="connsiteX219" fmla="*/ 667997 w 1337274"/>
              <a:gd name="connsiteY219" fmla="*/ 0 h 509892"/>
              <a:gd name="connsiteX220" fmla="*/ 669278 w 1337274"/>
              <a:gd name="connsiteY220" fmla="*/ 0 h 509892"/>
              <a:gd name="connsiteX221" fmla="*/ 669554 w 1337274"/>
              <a:gd name="connsiteY221" fmla="*/ 0 h 509892"/>
              <a:gd name="connsiteX222" fmla="*/ 669565 w 1337274"/>
              <a:gd name="connsiteY222" fmla="*/ 0 h 509892"/>
              <a:gd name="connsiteX223" fmla="*/ 671502 w 1337274"/>
              <a:gd name="connsiteY223" fmla="*/ 0 h 509892"/>
              <a:gd name="connsiteX224" fmla="*/ 672368 w 1337274"/>
              <a:gd name="connsiteY224" fmla="*/ 0 h 509892"/>
              <a:gd name="connsiteX225" fmla="*/ 672872 w 1337274"/>
              <a:gd name="connsiteY225" fmla="*/ 0 h 509892"/>
              <a:gd name="connsiteX226" fmla="*/ 674307 w 1337274"/>
              <a:gd name="connsiteY226" fmla="*/ 0 h 509892"/>
              <a:gd name="connsiteX227" fmla="*/ 675874 w 1337274"/>
              <a:gd name="connsiteY227" fmla="*/ 0 h 509892"/>
              <a:gd name="connsiteX228" fmla="*/ 676491 w 1337274"/>
              <a:gd name="connsiteY228" fmla="*/ 0 h 509892"/>
              <a:gd name="connsiteX229" fmla="*/ 678737 w 1337274"/>
              <a:gd name="connsiteY229" fmla="*/ 0 h 509892"/>
              <a:gd name="connsiteX230" fmla="*/ 680862 w 1337274"/>
              <a:gd name="connsiteY230" fmla="*/ 0 h 509892"/>
              <a:gd name="connsiteX231" fmla="*/ 681067 w 1337274"/>
              <a:gd name="connsiteY231" fmla="*/ 0 h 509892"/>
              <a:gd name="connsiteX232" fmla="*/ 682801 w 1337274"/>
              <a:gd name="connsiteY232" fmla="*/ 0 h 509892"/>
              <a:gd name="connsiteX233" fmla="*/ 684384 w 1337274"/>
              <a:gd name="connsiteY233" fmla="*/ 0 h 509892"/>
              <a:gd name="connsiteX234" fmla="*/ 685335 w 1337274"/>
              <a:gd name="connsiteY234" fmla="*/ 0 h 509892"/>
              <a:gd name="connsiteX235" fmla="*/ 687663 w 1337274"/>
              <a:gd name="connsiteY235" fmla="*/ 0 h 509892"/>
              <a:gd name="connsiteX236" fmla="*/ 688167 w 1337274"/>
              <a:gd name="connsiteY236" fmla="*/ 0 h 509892"/>
              <a:gd name="connsiteX237" fmla="*/ 690971 w 1337274"/>
              <a:gd name="connsiteY237" fmla="*/ 0 h 509892"/>
              <a:gd name="connsiteX238" fmla="*/ 690981 w 1337274"/>
              <a:gd name="connsiteY238" fmla="*/ 0 h 509892"/>
              <a:gd name="connsiteX239" fmla="*/ 692539 w 1337274"/>
              <a:gd name="connsiteY239" fmla="*/ 0 h 509892"/>
              <a:gd name="connsiteX240" fmla="*/ 693828 w 1337274"/>
              <a:gd name="connsiteY240" fmla="*/ 0 h 509892"/>
              <a:gd name="connsiteX241" fmla="*/ 696157 w 1337274"/>
              <a:gd name="connsiteY241" fmla="*/ 0 h 509892"/>
              <a:gd name="connsiteX242" fmla="*/ 697351 w 1337274"/>
              <a:gd name="connsiteY242" fmla="*/ 0 h 509892"/>
              <a:gd name="connsiteX243" fmla="*/ 699465 w 1337274"/>
              <a:gd name="connsiteY243" fmla="*/ 0 h 509892"/>
              <a:gd name="connsiteX244" fmla="*/ 699474 w 1337274"/>
              <a:gd name="connsiteY244" fmla="*/ 0 h 509892"/>
              <a:gd name="connsiteX245" fmla="*/ 701722 w 1337274"/>
              <a:gd name="connsiteY245" fmla="*/ 0 h 509892"/>
              <a:gd name="connsiteX246" fmla="*/ 701999 w 1337274"/>
              <a:gd name="connsiteY246" fmla="*/ 0 h 509892"/>
              <a:gd name="connsiteX247" fmla="*/ 703938 w 1337274"/>
              <a:gd name="connsiteY247" fmla="*/ 0 h 509892"/>
              <a:gd name="connsiteX248" fmla="*/ 703947 w 1337274"/>
              <a:gd name="connsiteY248" fmla="*/ 0 h 509892"/>
              <a:gd name="connsiteX249" fmla="*/ 706062 w 1337274"/>
              <a:gd name="connsiteY249" fmla="*/ 0 h 509892"/>
              <a:gd name="connsiteX250" fmla="*/ 708308 w 1337274"/>
              <a:gd name="connsiteY250" fmla="*/ 0 h 509892"/>
              <a:gd name="connsiteX251" fmla="*/ 708319 w 1337274"/>
              <a:gd name="connsiteY251" fmla="*/ 0 h 509892"/>
              <a:gd name="connsiteX252" fmla="*/ 710493 w 1337274"/>
              <a:gd name="connsiteY252" fmla="*/ 0 h 509892"/>
              <a:gd name="connsiteX253" fmla="*/ 711927 w 1337274"/>
              <a:gd name="connsiteY253" fmla="*/ 0 h 509892"/>
              <a:gd name="connsiteX254" fmla="*/ 712431 w 1337274"/>
              <a:gd name="connsiteY254" fmla="*/ 0 h 509892"/>
              <a:gd name="connsiteX255" fmla="*/ 712441 w 1337274"/>
              <a:gd name="connsiteY255" fmla="*/ 0 h 509892"/>
              <a:gd name="connsiteX256" fmla="*/ 715245 w 1337274"/>
              <a:gd name="connsiteY256" fmla="*/ 0 h 509892"/>
              <a:gd name="connsiteX257" fmla="*/ 716802 w 1337274"/>
              <a:gd name="connsiteY257" fmla="*/ 0 h 509892"/>
              <a:gd name="connsiteX258" fmla="*/ 716813 w 1337274"/>
              <a:gd name="connsiteY258" fmla="*/ 0 h 509892"/>
              <a:gd name="connsiteX259" fmla="*/ 717089 w 1337274"/>
              <a:gd name="connsiteY259" fmla="*/ 0 h 509892"/>
              <a:gd name="connsiteX260" fmla="*/ 719027 w 1337274"/>
              <a:gd name="connsiteY260" fmla="*/ 0 h 509892"/>
              <a:gd name="connsiteX261" fmla="*/ 720612 w 1337274"/>
              <a:gd name="connsiteY261" fmla="*/ 0 h 509892"/>
              <a:gd name="connsiteX262" fmla="*/ 723398 w 1337274"/>
              <a:gd name="connsiteY262" fmla="*/ 0 h 509892"/>
              <a:gd name="connsiteX263" fmla="*/ 724983 w 1337274"/>
              <a:gd name="connsiteY263" fmla="*/ 0 h 509892"/>
              <a:gd name="connsiteX264" fmla="*/ 726921 w 1337274"/>
              <a:gd name="connsiteY264" fmla="*/ 0 h 509892"/>
              <a:gd name="connsiteX265" fmla="*/ 728591 w 1337274"/>
              <a:gd name="connsiteY265" fmla="*/ 0 h 509892"/>
              <a:gd name="connsiteX266" fmla="*/ 728602 w 1337274"/>
              <a:gd name="connsiteY266" fmla="*/ 0 h 509892"/>
              <a:gd name="connsiteX267" fmla="*/ 729106 w 1337274"/>
              <a:gd name="connsiteY267" fmla="*/ 0 h 509892"/>
              <a:gd name="connsiteX268" fmla="*/ 730541 w 1337274"/>
              <a:gd name="connsiteY268" fmla="*/ 0 h 509892"/>
              <a:gd name="connsiteX269" fmla="*/ 731909 w 1337274"/>
              <a:gd name="connsiteY269" fmla="*/ 0 h 509892"/>
              <a:gd name="connsiteX270" fmla="*/ 733476 w 1337274"/>
              <a:gd name="connsiteY270" fmla="*/ 0 h 509892"/>
              <a:gd name="connsiteX271" fmla="*/ 734911 w 1337274"/>
              <a:gd name="connsiteY271" fmla="*/ 0 h 509892"/>
              <a:gd name="connsiteX272" fmla="*/ 735187 w 1337274"/>
              <a:gd name="connsiteY272" fmla="*/ 0 h 509892"/>
              <a:gd name="connsiteX273" fmla="*/ 735415 w 1337274"/>
              <a:gd name="connsiteY273" fmla="*/ 0 h 509892"/>
              <a:gd name="connsiteX274" fmla="*/ 735692 w 1337274"/>
              <a:gd name="connsiteY274" fmla="*/ 0 h 509892"/>
              <a:gd name="connsiteX275" fmla="*/ 735702 w 1337274"/>
              <a:gd name="connsiteY275" fmla="*/ 0 h 509892"/>
              <a:gd name="connsiteX276" fmla="*/ 738506 w 1337274"/>
              <a:gd name="connsiteY276" fmla="*/ 0 h 509892"/>
              <a:gd name="connsiteX277" fmla="*/ 740063 w 1337274"/>
              <a:gd name="connsiteY277" fmla="*/ 0 h 509892"/>
              <a:gd name="connsiteX278" fmla="*/ 740074 w 1337274"/>
              <a:gd name="connsiteY278" fmla="*/ 0 h 509892"/>
              <a:gd name="connsiteX279" fmla="*/ 742011 w 1337274"/>
              <a:gd name="connsiteY279" fmla="*/ 0 h 509892"/>
              <a:gd name="connsiteX280" fmla="*/ 743681 w 1337274"/>
              <a:gd name="connsiteY280" fmla="*/ 0 h 509892"/>
              <a:gd name="connsiteX281" fmla="*/ 744876 w 1337274"/>
              <a:gd name="connsiteY281" fmla="*/ 0 h 509892"/>
              <a:gd name="connsiteX282" fmla="*/ 746999 w 1337274"/>
              <a:gd name="connsiteY282" fmla="*/ 0 h 509892"/>
              <a:gd name="connsiteX283" fmla="*/ 747204 w 1337274"/>
              <a:gd name="connsiteY283" fmla="*/ 0 h 509892"/>
              <a:gd name="connsiteX284" fmla="*/ 749246 w 1337274"/>
              <a:gd name="connsiteY284" fmla="*/ 0 h 509892"/>
              <a:gd name="connsiteX285" fmla="*/ 751472 w 1337274"/>
              <a:gd name="connsiteY285" fmla="*/ 0 h 509892"/>
              <a:gd name="connsiteX286" fmla="*/ 751576 w 1337274"/>
              <a:gd name="connsiteY286" fmla="*/ 0 h 509892"/>
              <a:gd name="connsiteX287" fmla="*/ 753801 w 1337274"/>
              <a:gd name="connsiteY287" fmla="*/ 0 h 509892"/>
              <a:gd name="connsiteX288" fmla="*/ 755843 w 1337274"/>
              <a:gd name="connsiteY288" fmla="*/ 0 h 509892"/>
              <a:gd name="connsiteX289" fmla="*/ 758172 w 1337274"/>
              <a:gd name="connsiteY289" fmla="*/ 0 h 509892"/>
              <a:gd name="connsiteX290" fmla="*/ 758676 w 1337274"/>
              <a:gd name="connsiteY290" fmla="*/ 0 h 509892"/>
              <a:gd name="connsiteX291" fmla="*/ 759966 w 1337274"/>
              <a:gd name="connsiteY291" fmla="*/ 0 h 509892"/>
              <a:gd name="connsiteX292" fmla="*/ 762295 w 1337274"/>
              <a:gd name="connsiteY292" fmla="*/ 0 h 509892"/>
              <a:gd name="connsiteX293" fmla="*/ 764337 w 1337274"/>
              <a:gd name="connsiteY293" fmla="*/ 0 h 509892"/>
              <a:gd name="connsiteX294" fmla="*/ 764543 w 1337274"/>
              <a:gd name="connsiteY294" fmla="*/ 0 h 509892"/>
              <a:gd name="connsiteX295" fmla="*/ 766666 w 1337274"/>
              <a:gd name="connsiteY295" fmla="*/ 0 h 509892"/>
              <a:gd name="connsiteX296" fmla="*/ 767860 w 1337274"/>
              <a:gd name="connsiteY296" fmla="*/ 0 h 509892"/>
              <a:gd name="connsiteX297" fmla="*/ 768137 w 1337274"/>
              <a:gd name="connsiteY297" fmla="*/ 0 h 509892"/>
              <a:gd name="connsiteX298" fmla="*/ 771139 w 1337274"/>
              <a:gd name="connsiteY298" fmla="*/ 0 h 509892"/>
              <a:gd name="connsiteX299" fmla="*/ 772508 w 1337274"/>
              <a:gd name="connsiteY299" fmla="*/ 0 h 509892"/>
              <a:gd name="connsiteX300" fmla="*/ 774446 w 1337274"/>
              <a:gd name="connsiteY300" fmla="*/ 0 h 509892"/>
              <a:gd name="connsiteX301" fmla="*/ 774456 w 1337274"/>
              <a:gd name="connsiteY301" fmla="*/ 0 h 509892"/>
              <a:gd name="connsiteX302" fmla="*/ 776126 w 1337274"/>
              <a:gd name="connsiteY302" fmla="*/ 0 h 509892"/>
              <a:gd name="connsiteX303" fmla="*/ 776631 w 1337274"/>
              <a:gd name="connsiteY303" fmla="*/ 0 h 509892"/>
              <a:gd name="connsiteX304" fmla="*/ 778066 w 1337274"/>
              <a:gd name="connsiteY304" fmla="*/ 0 h 509892"/>
              <a:gd name="connsiteX305" fmla="*/ 779633 w 1337274"/>
              <a:gd name="connsiteY305" fmla="*/ 0 h 509892"/>
              <a:gd name="connsiteX306" fmla="*/ 781001 w 1337274"/>
              <a:gd name="connsiteY306" fmla="*/ 0 h 509892"/>
              <a:gd name="connsiteX307" fmla="*/ 782435 w 1337274"/>
              <a:gd name="connsiteY307" fmla="*/ 0 h 509892"/>
              <a:gd name="connsiteX308" fmla="*/ 782940 w 1337274"/>
              <a:gd name="connsiteY308" fmla="*/ 0 h 509892"/>
              <a:gd name="connsiteX309" fmla="*/ 782950 w 1337274"/>
              <a:gd name="connsiteY309" fmla="*/ 0 h 509892"/>
              <a:gd name="connsiteX310" fmla="*/ 783227 w 1337274"/>
              <a:gd name="connsiteY310" fmla="*/ 0 h 509892"/>
              <a:gd name="connsiteX311" fmla="*/ 787598 w 1337274"/>
              <a:gd name="connsiteY311" fmla="*/ 0 h 509892"/>
              <a:gd name="connsiteX312" fmla="*/ 787803 w 1337274"/>
              <a:gd name="connsiteY312" fmla="*/ 0 h 509892"/>
              <a:gd name="connsiteX313" fmla="*/ 789536 w 1337274"/>
              <a:gd name="connsiteY313" fmla="*/ 0 h 509892"/>
              <a:gd name="connsiteX314" fmla="*/ 791120 w 1337274"/>
              <a:gd name="connsiteY314" fmla="*/ 0 h 509892"/>
              <a:gd name="connsiteX315" fmla="*/ 794729 w 1337274"/>
              <a:gd name="connsiteY315" fmla="*/ 0 h 509892"/>
              <a:gd name="connsiteX316" fmla="*/ 794739 w 1337274"/>
              <a:gd name="connsiteY316" fmla="*/ 0 h 509892"/>
              <a:gd name="connsiteX317" fmla="*/ 796297 w 1337274"/>
              <a:gd name="connsiteY317" fmla="*/ 0 h 509892"/>
              <a:gd name="connsiteX318" fmla="*/ 799100 w 1337274"/>
              <a:gd name="connsiteY318" fmla="*/ 0 h 509892"/>
              <a:gd name="connsiteX319" fmla="*/ 799111 w 1337274"/>
              <a:gd name="connsiteY319" fmla="*/ 0 h 509892"/>
              <a:gd name="connsiteX320" fmla="*/ 799614 w 1337274"/>
              <a:gd name="connsiteY320" fmla="*/ 0 h 509892"/>
              <a:gd name="connsiteX321" fmla="*/ 801049 w 1337274"/>
              <a:gd name="connsiteY321" fmla="*/ 0 h 509892"/>
              <a:gd name="connsiteX322" fmla="*/ 801326 w 1337274"/>
              <a:gd name="connsiteY322" fmla="*/ 0 h 509892"/>
              <a:gd name="connsiteX323" fmla="*/ 802893 w 1337274"/>
              <a:gd name="connsiteY323" fmla="*/ 0 h 509892"/>
              <a:gd name="connsiteX324" fmla="*/ 805696 w 1337274"/>
              <a:gd name="connsiteY324" fmla="*/ 0 h 509892"/>
              <a:gd name="connsiteX325" fmla="*/ 806201 w 1337274"/>
              <a:gd name="connsiteY325" fmla="*/ 0 h 509892"/>
              <a:gd name="connsiteX326" fmla="*/ 806210 w 1337274"/>
              <a:gd name="connsiteY326" fmla="*/ 0 h 509892"/>
              <a:gd name="connsiteX327" fmla="*/ 809820 w 1337274"/>
              <a:gd name="connsiteY327" fmla="*/ 0 h 509892"/>
              <a:gd name="connsiteX328" fmla="*/ 812066 w 1337274"/>
              <a:gd name="connsiteY328" fmla="*/ 0 h 509892"/>
              <a:gd name="connsiteX329" fmla="*/ 812077 w 1337274"/>
              <a:gd name="connsiteY329" fmla="*/ 0 h 509892"/>
              <a:gd name="connsiteX330" fmla="*/ 814190 w 1337274"/>
              <a:gd name="connsiteY330" fmla="*/ 0 h 509892"/>
              <a:gd name="connsiteX331" fmla="*/ 815385 w 1337274"/>
              <a:gd name="connsiteY331" fmla="*/ 0 h 509892"/>
              <a:gd name="connsiteX332" fmla="*/ 817713 w 1337274"/>
              <a:gd name="connsiteY332" fmla="*/ 0 h 509892"/>
              <a:gd name="connsiteX333" fmla="*/ 818663 w 1337274"/>
              <a:gd name="connsiteY333" fmla="*/ 0 h 509892"/>
              <a:gd name="connsiteX334" fmla="*/ 821981 w 1337274"/>
              <a:gd name="connsiteY334" fmla="*/ 0 h 509892"/>
              <a:gd name="connsiteX335" fmla="*/ 824310 w 1337274"/>
              <a:gd name="connsiteY335" fmla="*/ 0 h 509892"/>
              <a:gd name="connsiteX336" fmla="*/ 827156 w 1337274"/>
              <a:gd name="connsiteY336" fmla="*/ 0 h 509892"/>
              <a:gd name="connsiteX337" fmla="*/ 828741 w 1337274"/>
              <a:gd name="connsiteY337" fmla="*/ 0 h 509892"/>
              <a:gd name="connsiteX338" fmla="*/ 830475 w 1337274"/>
              <a:gd name="connsiteY338" fmla="*/ 0 h 509892"/>
              <a:gd name="connsiteX339" fmla="*/ 830679 w 1337274"/>
              <a:gd name="connsiteY339" fmla="*/ 0 h 509892"/>
              <a:gd name="connsiteX340" fmla="*/ 832804 w 1337274"/>
              <a:gd name="connsiteY340" fmla="*/ 0 h 509892"/>
              <a:gd name="connsiteX341" fmla="*/ 835051 w 1337274"/>
              <a:gd name="connsiteY341" fmla="*/ 0 h 509892"/>
              <a:gd name="connsiteX342" fmla="*/ 835327 w 1337274"/>
              <a:gd name="connsiteY342" fmla="*/ 0 h 509892"/>
              <a:gd name="connsiteX343" fmla="*/ 835338 w 1337274"/>
              <a:gd name="connsiteY343" fmla="*/ 0 h 509892"/>
              <a:gd name="connsiteX344" fmla="*/ 837275 w 1337274"/>
              <a:gd name="connsiteY344" fmla="*/ 0 h 509892"/>
              <a:gd name="connsiteX345" fmla="*/ 838645 w 1337274"/>
              <a:gd name="connsiteY345" fmla="*/ 0 h 509892"/>
              <a:gd name="connsiteX346" fmla="*/ 841647 w 1337274"/>
              <a:gd name="connsiteY346" fmla="*/ 0 h 509892"/>
              <a:gd name="connsiteX347" fmla="*/ 842264 w 1337274"/>
              <a:gd name="connsiteY347" fmla="*/ 0 h 509892"/>
              <a:gd name="connsiteX348" fmla="*/ 843821 w 1337274"/>
              <a:gd name="connsiteY348" fmla="*/ 0 h 509892"/>
              <a:gd name="connsiteX349" fmla="*/ 843832 w 1337274"/>
              <a:gd name="connsiteY349" fmla="*/ 0 h 509892"/>
              <a:gd name="connsiteX350" fmla="*/ 845769 w 1337274"/>
              <a:gd name="connsiteY350" fmla="*/ 0 h 509892"/>
              <a:gd name="connsiteX351" fmla="*/ 846635 w 1337274"/>
              <a:gd name="connsiteY351" fmla="*/ 0 h 509892"/>
              <a:gd name="connsiteX352" fmla="*/ 847139 w 1337274"/>
              <a:gd name="connsiteY352" fmla="*/ 0 h 509892"/>
              <a:gd name="connsiteX353" fmla="*/ 848574 w 1337274"/>
              <a:gd name="connsiteY353" fmla="*/ 0 h 509892"/>
              <a:gd name="connsiteX354" fmla="*/ 850141 w 1337274"/>
              <a:gd name="connsiteY354" fmla="*/ 0 h 509892"/>
              <a:gd name="connsiteX355" fmla="*/ 850417 w 1337274"/>
              <a:gd name="connsiteY355" fmla="*/ 0 h 509892"/>
              <a:gd name="connsiteX356" fmla="*/ 853735 w 1337274"/>
              <a:gd name="connsiteY356" fmla="*/ 0 h 509892"/>
              <a:gd name="connsiteX357" fmla="*/ 853940 w 1337274"/>
              <a:gd name="connsiteY357" fmla="*/ 0 h 509892"/>
              <a:gd name="connsiteX358" fmla="*/ 858312 w 1337274"/>
              <a:gd name="connsiteY358" fmla="*/ 0 h 509892"/>
              <a:gd name="connsiteX359" fmla="*/ 859601 w 1337274"/>
              <a:gd name="connsiteY359" fmla="*/ 0 h 509892"/>
              <a:gd name="connsiteX360" fmla="*/ 861930 w 1337274"/>
              <a:gd name="connsiteY360" fmla="*/ 0 h 509892"/>
              <a:gd name="connsiteX361" fmla="*/ 862434 w 1337274"/>
              <a:gd name="connsiteY361" fmla="*/ 0 h 509892"/>
              <a:gd name="connsiteX362" fmla="*/ 865238 w 1337274"/>
              <a:gd name="connsiteY362" fmla="*/ 0 h 509892"/>
              <a:gd name="connsiteX363" fmla="*/ 865247 w 1337274"/>
              <a:gd name="connsiteY363" fmla="*/ 0 h 509892"/>
              <a:gd name="connsiteX364" fmla="*/ 866806 w 1337274"/>
              <a:gd name="connsiteY364" fmla="*/ 0 h 509892"/>
              <a:gd name="connsiteX365" fmla="*/ 869030 w 1337274"/>
              <a:gd name="connsiteY365" fmla="*/ 0 h 509892"/>
              <a:gd name="connsiteX366" fmla="*/ 871835 w 1337274"/>
              <a:gd name="connsiteY366" fmla="*/ 0 h 509892"/>
              <a:gd name="connsiteX367" fmla="*/ 873402 w 1337274"/>
              <a:gd name="connsiteY367" fmla="*/ 0 h 509892"/>
              <a:gd name="connsiteX368" fmla="*/ 876266 w 1337274"/>
              <a:gd name="connsiteY368" fmla="*/ 0 h 509892"/>
              <a:gd name="connsiteX369" fmla="*/ 878204 w 1337274"/>
              <a:gd name="connsiteY369" fmla="*/ 0 h 509892"/>
              <a:gd name="connsiteX370" fmla="*/ 878214 w 1337274"/>
              <a:gd name="connsiteY370" fmla="*/ 0 h 509892"/>
              <a:gd name="connsiteX371" fmla="*/ 880329 w 1337274"/>
              <a:gd name="connsiteY371" fmla="*/ 0 h 509892"/>
              <a:gd name="connsiteX372" fmla="*/ 882575 w 1337274"/>
              <a:gd name="connsiteY372" fmla="*/ 0 h 509892"/>
              <a:gd name="connsiteX373" fmla="*/ 882586 w 1337274"/>
              <a:gd name="connsiteY373" fmla="*/ 0 h 509892"/>
              <a:gd name="connsiteX374" fmla="*/ 882862 w 1337274"/>
              <a:gd name="connsiteY374" fmla="*/ 0 h 509892"/>
              <a:gd name="connsiteX375" fmla="*/ 884800 w 1337274"/>
              <a:gd name="connsiteY375" fmla="*/ 0 h 509892"/>
              <a:gd name="connsiteX376" fmla="*/ 889171 w 1337274"/>
              <a:gd name="connsiteY376" fmla="*/ 0 h 509892"/>
              <a:gd name="connsiteX377" fmla="*/ 891356 w 1337274"/>
              <a:gd name="connsiteY377" fmla="*/ 0 h 509892"/>
              <a:gd name="connsiteX378" fmla="*/ 893294 w 1337274"/>
              <a:gd name="connsiteY378" fmla="*/ 0 h 509892"/>
              <a:gd name="connsiteX379" fmla="*/ 894879 w 1337274"/>
              <a:gd name="connsiteY379" fmla="*/ 0 h 509892"/>
              <a:gd name="connsiteX380" fmla="*/ 897665 w 1337274"/>
              <a:gd name="connsiteY380" fmla="*/ 0 h 509892"/>
              <a:gd name="connsiteX381" fmla="*/ 899249 w 1337274"/>
              <a:gd name="connsiteY381" fmla="*/ 0 h 509892"/>
              <a:gd name="connsiteX382" fmla="*/ 901188 w 1337274"/>
              <a:gd name="connsiteY382" fmla="*/ 0 h 509892"/>
              <a:gd name="connsiteX383" fmla="*/ 901465 w 1337274"/>
              <a:gd name="connsiteY383" fmla="*/ 0 h 509892"/>
              <a:gd name="connsiteX384" fmla="*/ 901475 w 1337274"/>
              <a:gd name="connsiteY384" fmla="*/ 0 h 509892"/>
              <a:gd name="connsiteX385" fmla="*/ 905836 w 1337274"/>
              <a:gd name="connsiteY385" fmla="*/ 0 h 509892"/>
              <a:gd name="connsiteX386" fmla="*/ 905847 w 1337274"/>
              <a:gd name="connsiteY386" fmla="*/ 0 h 509892"/>
              <a:gd name="connsiteX387" fmla="*/ 907784 w 1337274"/>
              <a:gd name="connsiteY387" fmla="*/ 0 h 509892"/>
              <a:gd name="connsiteX388" fmla="*/ 909454 w 1337274"/>
              <a:gd name="connsiteY388" fmla="*/ 0 h 509892"/>
              <a:gd name="connsiteX389" fmla="*/ 909959 w 1337274"/>
              <a:gd name="connsiteY389" fmla="*/ 0 h 509892"/>
              <a:gd name="connsiteX390" fmla="*/ 909968 w 1337274"/>
              <a:gd name="connsiteY390" fmla="*/ 0 h 509892"/>
              <a:gd name="connsiteX391" fmla="*/ 912772 w 1337274"/>
              <a:gd name="connsiteY391" fmla="*/ 0 h 509892"/>
              <a:gd name="connsiteX392" fmla="*/ 914330 w 1337274"/>
              <a:gd name="connsiteY392" fmla="*/ 0 h 509892"/>
              <a:gd name="connsiteX393" fmla="*/ 914341 w 1337274"/>
              <a:gd name="connsiteY393" fmla="*/ 0 h 509892"/>
              <a:gd name="connsiteX394" fmla="*/ 916278 w 1337274"/>
              <a:gd name="connsiteY394" fmla="*/ 0 h 509892"/>
              <a:gd name="connsiteX395" fmla="*/ 916555 w 1337274"/>
              <a:gd name="connsiteY395" fmla="*/ 0 h 509892"/>
              <a:gd name="connsiteX396" fmla="*/ 924449 w 1337274"/>
              <a:gd name="connsiteY396" fmla="*/ 0 h 509892"/>
              <a:gd name="connsiteX397" fmla="*/ 925739 w 1337274"/>
              <a:gd name="connsiteY397" fmla="*/ 0 h 509892"/>
              <a:gd name="connsiteX398" fmla="*/ 928068 w 1337274"/>
              <a:gd name="connsiteY398" fmla="*/ 0 h 509892"/>
              <a:gd name="connsiteX399" fmla="*/ 930110 w 1337274"/>
              <a:gd name="connsiteY399" fmla="*/ 0 h 509892"/>
              <a:gd name="connsiteX400" fmla="*/ 932439 w 1337274"/>
              <a:gd name="connsiteY400" fmla="*/ 0 h 509892"/>
              <a:gd name="connsiteX401" fmla="*/ 942404 w 1337274"/>
              <a:gd name="connsiteY401" fmla="*/ 0 h 509892"/>
              <a:gd name="connsiteX402" fmla="*/ 945406 w 1337274"/>
              <a:gd name="connsiteY402" fmla="*/ 0 h 509892"/>
              <a:gd name="connsiteX403" fmla="*/ 946774 w 1337274"/>
              <a:gd name="connsiteY403" fmla="*/ 0 h 509892"/>
              <a:gd name="connsiteX404" fmla="*/ 948713 w 1337274"/>
              <a:gd name="connsiteY404" fmla="*/ 0 h 509892"/>
              <a:gd name="connsiteX405" fmla="*/ 948723 w 1337274"/>
              <a:gd name="connsiteY405" fmla="*/ 0 h 509892"/>
              <a:gd name="connsiteX406" fmla="*/ 949000 w 1337274"/>
              <a:gd name="connsiteY406" fmla="*/ 0 h 509892"/>
              <a:gd name="connsiteX407" fmla="*/ 953371 w 1337274"/>
              <a:gd name="connsiteY407" fmla="*/ 0 h 509892"/>
              <a:gd name="connsiteX408" fmla="*/ 955309 w 1337274"/>
              <a:gd name="connsiteY408" fmla="*/ 0 h 509892"/>
              <a:gd name="connsiteX409" fmla="*/ 962070 w 1337274"/>
              <a:gd name="connsiteY409" fmla="*/ 0 h 509892"/>
              <a:gd name="connsiteX410" fmla="*/ 965387 w 1337274"/>
              <a:gd name="connsiteY410" fmla="*/ 0 h 509892"/>
              <a:gd name="connsiteX411" fmla="*/ 968666 w 1337274"/>
              <a:gd name="connsiteY411" fmla="*/ 0 h 509892"/>
              <a:gd name="connsiteX412" fmla="*/ 971974 w 1337274"/>
              <a:gd name="connsiteY412" fmla="*/ 0 h 509892"/>
              <a:gd name="connsiteX413" fmla="*/ 971983 w 1337274"/>
              <a:gd name="connsiteY413" fmla="*/ 0 h 509892"/>
              <a:gd name="connsiteX414" fmla="*/ 975593 w 1337274"/>
              <a:gd name="connsiteY414" fmla="*/ 0 h 509892"/>
              <a:gd name="connsiteX415" fmla="*/ 979963 w 1337274"/>
              <a:gd name="connsiteY415" fmla="*/ 0 h 509892"/>
              <a:gd name="connsiteX416" fmla="*/ 992929 w 1337274"/>
              <a:gd name="connsiteY416" fmla="*/ 0 h 509892"/>
              <a:gd name="connsiteX417" fmla="*/ 996248 w 1337274"/>
              <a:gd name="connsiteY417" fmla="*/ 0 h 509892"/>
              <a:gd name="connsiteX418" fmla="*/ 998577 w 1337274"/>
              <a:gd name="connsiteY418" fmla="*/ 0 h 509892"/>
              <a:gd name="connsiteX419" fmla="*/ 1009594 w 1337274"/>
              <a:gd name="connsiteY419" fmla="*/ 0 h 509892"/>
              <a:gd name="connsiteX420" fmla="*/ 1009605 w 1337274"/>
              <a:gd name="connsiteY420" fmla="*/ 0 h 509892"/>
              <a:gd name="connsiteX421" fmla="*/ 1011542 w 1337274"/>
              <a:gd name="connsiteY421" fmla="*/ 0 h 509892"/>
              <a:gd name="connsiteX422" fmla="*/ 1012912 w 1337274"/>
              <a:gd name="connsiteY422" fmla="*/ 0 h 509892"/>
              <a:gd name="connsiteX423" fmla="*/ 1015914 w 1337274"/>
              <a:gd name="connsiteY423" fmla="*/ 0 h 509892"/>
              <a:gd name="connsiteX424" fmla="*/ 1016190 w 1337274"/>
              <a:gd name="connsiteY424" fmla="*/ 0 h 509892"/>
              <a:gd name="connsiteX425" fmla="*/ 1019508 w 1337274"/>
              <a:gd name="connsiteY425" fmla="*/ 0 h 509892"/>
              <a:gd name="connsiteX426" fmla="*/ 1028207 w 1337274"/>
              <a:gd name="connsiteY426" fmla="*/ 0 h 509892"/>
              <a:gd name="connsiteX427" fmla="*/ 1032579 w 1337274"/>
              <a:gd name="connsiteY427" fmla="*/ 0 h 509892"/>
              <a:gd name="connsiteX428" fmla="*/ 1034803 w 1337274"/>
              <a:gd name="connsiteY428" fmla="*/ 0 h 509892"/>
              <a:gd name="connsiteX429" fmla="*/ 1039175 w 1337274"/>
              <a:gd name="connsiteY429" fmla="*/ 0 h 509892"/>
              <a:gd name="connsiteX430" fmla="*/ 1046102 w 1337274"/>
              <a:gd name="connsiteY430" fmla="*/ 0 h 509892"/>
              <a:gd name="connsiteX431" fmla="*/ 1057129 w 1337274"/>
              <a:gd name="connsiteY431" fmla="*/ 0 h 509892"/>
              <a:gd name="connsiteX432" fmla="*/ 1059067 w 1337274"/>
              <a:gd name="connsiteY432" fmla="*/ 0 h 509892"/>
              <a:gd name="connsiteX433" fmla="*/ 1063438 w 1337274"/>
              <a:gd name="connsiteY433" fmla="*/ 0 h 509892"/>
              <a:gd name="connsiteX434" fmla="*/ 1075732 w 1337274"/>
              <a:gd name="connsiteY434" fmla="*/ 0 h 509892"/>
              <a:gd name="connsiteX435" fmla="*/ 1075741 w 1337274"/>
              <a:gd name="connsiteY435" fmla="*/ 0 h 509892"/>
              <a:gd name="connsiteX436" fmla="*/ 1080103 w 1337274"/>
              <a:gd name="connsiteY436" fmla="*/ 0 h 509892"/>
              <a:gd name="connsiteX437" fmla="*/ 1080114 w 1337274"/>
              <a:gd name="connsiteY437" fmla="*/ 0 h 509892"/>
              <a:gd name="connsiteX438" fmla="*/ 1082051 w 1337274"/>
              <a:gd name="connsiteY438" fmla="*/ 0 h 509892"/>
              <a:gd name="connsiteX439" fmla="*/ 1082328 w 1337274"/>
              <a:gd name="connsiteY439" fmla="*/ 0 h 509892"/>
              <a:gd name="connsiteX440" fmla="*/ 1337274 w 1337274"/>
              <a:gd name="connsiteY440" fmla="*/ 254947 h 509892"/>
              <a:gd name="connsiteX441" fmla="*/ 1337273 w 1337274"/>
              <a:gd name="connsiteY441" fmla="*/ 254947 h 509892"/>
              <a:gd name="connsiteX442" fmla="*/ 1082328 w 1337274"/>
              <a:gd name="connsiteY442" fmla="*/ 509892 h 509892"/>
              <a:gd name="connsiteX443" fmla="*/ 1080115 w 1337274"/>
              <a:gd name="connsiteY443" fmla="*/ 509892 h 509892"/>
              <a:gd name="connsiteX444" fmla="*/ 1080112 w 1337274"/>
              <a:gd name="connsiteY444" fmla="*/ 509892 h 509892"/>
              <a:gd name="connsiteX445" fmla="*/ 1080103 w 1337274"/>
              <a:gd name="connsiteY445" fmla="*/ 509892 h 509892"/>
              <a:gd name="connsiteX446" fmla="*/ 1080102 w 1337274"/>
              <a:gd name="connsiteY446" fmla="*/ 509892 h 509892"/>
              <a:gd name="connsiteX447" fmla="*/ 1075744 w 1337274"/>
              <a:gd name="connsiteY447" fmla="*/ 509892 h 509892"/>
              <a:gd name="connsiteX448" fmla="*/ 1075740 w 1337274"/>
              <a:gd name="connsiteY448" fmla="*/ 509892 h 509892"/>
              <a:gd name="connsiteX449" fmla="*/ 1075731 w 1337274"/>
              <a:gd name="connsiteY449" fmla="*/ 509892 h 509892"/>
              <a:gd name="connsiteX450" fmla="*/ 1057129 w 1337274"/>
              <a:gd name="connsiteY450" fmla="*/ 509892 h 509892"/>
              <a:gd name="connsiteX451" fmla="*/ 1057128 w 1337274"/>
              <a:gd name="connsiteY451" fmla="*/ 509892 h 509892"/>
              <a:gd name="connsiteX452" fmla="*/ 1046101 w 1337274"/>
              <a:gd name="connsiteY452" fmla="*/ 509892 h 509892"/>
              <a:gd name="connsiteX453" fmla="*/ 1039177 w 1337274"/>
              <a:gd name="connsiteY453" fmla="*/ 509892 h 509892"/>
              <a:gd name="connsiteX454" fmla="*/ 1039174 w 1337274"/>
              <a:gd name="connsiteY454" fmla="*/ 509892 h 509892"/>
              <a:gd name="connsiteX455" fmla="*/ 1034805 w 1337274"/>
              <a:gd name="connsiteY455" fmla="*/ 509892 h 509892"/>
              <a:gd name="connsiteX456" fmla="*/ 1034803 w 1337274"/>
              <a:gd name="connsiteY456" fmla="*/ 509892 h 509892"/>
              <a:gd name="connsiteX457" fmla="*/ 1032580 w 1337274"/>
              <a:gd name="connsiteY457" fmla="*/ 509892 h 509892"/>
              <a:gd name="connsiteX458" fmla="*/ 1032578 w 1337274"/>
              <a:gd name="connsiteY458" fmla="*/ 509892 h 509892"/>
              <a:gd name="connsiteX459" fmla="*/ 1028209 w 1337274"/>
              <a:gd name="connsiteY459" fmla="*/ 509892 h 509892"/>
              <a:gd name="connsiteX460" fmla="*/ 1028206 w 1337274"/>
              <a:gd name="connsiteY460" fmla="*/ 509892 h 509892"/>
              <a:gd name="connsiteX461" fmla="*/ 1019508 w 1337274"/>
              <a:gd name="connsiteY461" fmla="*/ 509892 h 509892"/>
              <a:gd name="connsiteX462" fmla="*/ 1019507 w 1337274"/>
              <a:gd name="connsiteY462" fmla="*/ 509892 h 509892"/>
              <a:gd name="connsiteX463" fmla="*/ 1016190 w 1337274"/>
              <a:gd name="connsiteY463" fmla="*/ 509892 h 509892"/>
              <a:gd name="connsiteX464" fmla="*/ 1016189 w 1337274"/>
              <a:gd name="connsiteY464" fmla="*/ 509892 h 509892"/>
              <a:gd name="connsiteX465" fmla="*/ 1012912 w 1337274"/>
              <a:gd name="connsiteY465" fmla="*/ 509892 h 509892"/>
              <a:gd name="connsiteX466" fmla="*/ 1012911 w 1337274"/>
              <a:gd name="connsiteY466" fmla="*/ 509892 h 509892"/>
              <a:gd name="connsiteX467" fmla="*/ 1009606 w 1337274"/>
              <a:gd name="connsiteY467" fmla="*/ 509892 h 509892"/>
              <a:gd name="connsiteX468" fmla="*/ 1009604 w 1337274"/>
              <a:gd name="connsiteY468" fmla="*/ 509892 h 509892"/>
              <a:gd name="connsiteX469" fmla="*/ 1009594 w 1337274"/>
              <a:gd name="connsiteY469" fmla="*/ 509892 h 509892"/>
              <a:gd name="connsiteX470" fmla="*/ 1009593 w 1337274"/>
              <a:gd name="connsiteY470" fmla="*/ 509892 h 509892"/>
              <a:gd name="connsiteX471" fmla="*/ 998578 w 1337274"/>
              <a:gd name="connsiteY471" fmla="*/ 509892 h 509892"/>
              <a:gd name="connsiteX472" fmla="*/ 998576 w 1337274"/>
              <a:gd name="connsiteY472" fmla="*/ 509892 h 509892"/>
              <a:gd name="connsiteX473" fmla="*/ 979963 w 1337274"/>
              <a:gd name="connsiteY473" fmla="*/ 509892 h 509892"/>
              <a:gd name="connsiteX474" fmla="*/ 975592 w 1337274"/>
              <a:gd name="connsiteY474" fmla="*/ 509892 h 509892"/>
              <a:gd name="connsiteX475" fmla="*/ 971986 w 1337274"/>
              <a:gd name="connsiteY475" fmla="*/ 509892 h 509892"/>
              <a:gd name="connsiteX476" fmla="*/ 971982 w 1337274"/>
              <a:gd name="connsiteY476" fmla="*/ 509892 h 509892"/>
              <a:gd name="connsiteX477" fmla="*/ 971973 w 1337274"/>
              <a:gd name="connsiteY477" fmla="*/ 509892 h 509892"/>
              <a:gd name="connsiteX478" fmla="*/ 968668 w 1337274"/>
              <a:gd name="connsiteY478" fmla="*/ 509892 h 509892"/>
              <a:gd name="connsiteX479" fmla="*/ 968665 w 1337274"/>
              <a:gd name="connsiteY479" fmla="*/ 509892 h 509892"/>
              <a:gd name="connsiteX480" fmla="*/ 965388 w 1337274"/>
              <a:gd name="connsiteY480" fmla="*/ 509892 h 509892"/>
              <a:gd name="connsiteX481" fmla="*/ 965386 w 1337274"/>
              <a:gd name="connsiteY481" fmla="*/ 509892 h 509892"/>
              <a:gd name="connsiteX482" fmla="*/ 962071 w 1337274"/>
              <a:gd name="connsiteY482" fmla="*/ 509892 h 509892"/>
              <a:gd name="connsiteX483" fmla="*/ 962069 w 1337274"/>
              <a:gd name="connsiteY483" fmla="*/ 509892 h 509892"/>
              <a:gd name="connsiteX484" fmla="*/ 953371 w 1337274"/>
              <a:gd name="connsiteY484" fmla="*/ 509892 h 509892"/>
              <a:gd name="connsiteX485" fmla="*/ 953370 w 1337274"/>
              <a:gd name="connsiteY485" fmla="*/ 509892 h 509892"/>
              <a:gd name="connsiteX486" fmla="*/ 949000 w 1337274"/>
              <a:gd name="connsiteY486" fmla="*/ 509892 h 509892"/>
              <a:gd name="connsiteX487" fmla="*/ 948999 w 1337274"/>
              <a:gd name="connsiteY487" fmla="*/ 509892 h 509892"/>
              <a:gd name="connsiteX488" fmla="*/ 946774 w 1337274"/>
              <a:gd name="connsiteY488" fmla="*/ 509892 h 509892"/>
              <a:gd name="connsiteX489" fmla="*/ 946773 w 1337274"/>
              <a:gd name="connsiteY489" fmla="*/ 509892 h 509892"/>
              <a:gd name="connsiteX490" fmla="*/ 942404 w 1337274"/>
              <a:gd name="connsiteY490" fmla="*/ 509892 h 509892"/>
              <a:gd name="connsiteX491" fmla="*/ 942402 w 1337274"/>
              <a:gd name="connsiteY491" fmla="*/ 509892 h 509892"/>
              <a:gd name="connsiteX492" fmla="*/ 932441 w 1337274"/>
              <a:gd name="connsiteY492" fmla="*/ 509892 h 509892"/>
              <a:gd name="connsiteX493" fmla="*/ 932439 w 1337274"/>
              <a:gd name="connsiteY493" fmla="*/ 509892 h 509892"/>
              <a:gd name="connsiteX494" fmla="*/ 928069 w 1337274"/>
              <a:gd name="connsiteY494" fmla="*/ 509892 h 509892"/>
              <a:gd name="connsiteX495" fmla="*/ 928067 w 1337274"/>
              <a:gd name="connsiteY495" fmla="*/ 509892 h 509892"/>
              <a:gd name="connsiteX496" fmla="*/ 924451 w 1337274"/>
              <a:gd name="connsiteY496" fmla="*/ 509892 h 509892"/>
              <a:gd name="connsiteX497" fmla="*/ 924448 w 1337274"/>
              <a:gd name="connsiteY497" fmla="*/ 509892 h 509892"/>
              <a:gd name="connsiteX498" fmla="*/ 916555 w 1337274"/>
              <a:gd name="connsiteY498" fmla="*/ 509892 h 509892"/>
              <a:gd name="connsiteX499" fmla="*/ 914342 w 1337274"/>
              <a:gd name="connsiteY499" fmla="*/ 509892 h 509892"/>
              <a:gd name="connsiteX500" fmla="*/ 914339 w 1337274"/>
              <a:gd name="connsiteY500" fmla="*/ 509892 h 509892"/>
              <a:gd name="connsiteX501" fmla="*/ 914330 w 1337274"/>
              <a:gd name="connsiteY501" fmla="*/ 509892 h 509892"/>
              <a:gd name="connsiteX502" fmla="*/ 914329 w 1337274"/>
              <a:gd name="connsiteY502" fmla="*/ 509892 h 509892"/>
              <a:gd name="connsiteX503" fmla="*/ 912772 w 1337274"/>
              <a:gd name="connsiteY503" fmla="*/ 509892 h 509892"/>
              <a:gd name="connsiteX504" fmla="*/ 909971 w 1337274"/>
              <a:gd name="connsiteY504" fmla="*/ 509892 h 509892"/>
              <a:gd name="connsiteX505" fmla="*/ 909967 w 1337274"/>
              <a:gd name="connsiteY505" fmla="*/ 509892 h 509892"/>
              <a:gd name="connsiteX506" fmla="*/ 909958 w 1337274"/>
              <a:gd name="connsiteY506" fmla="*/ 509892 h 509892"/>
              <a:gd name="connsiteX507" fmla="*/ 909454 w 1337274"/>
              <a:gd name="connsiteY507" fmla="*/ 509892 h 509892"/>
              <a:gd name="connsiteX508" fmla="*/ 905848 w 1337274"/>
              <a:gd name="connsiteY508" fmla="*/ 509892 h 509892"/>
              <a:gd name="connsiteX509" fmla="*/ 905846 w 1337274"/>
              <a:gd name="connsiteY509" fmla="*/ 509892 h 509892"/>
              <a:gd name="connsiteX510" fmla="*/ 905836 w 1337274"/>
              <a:gd name="connsiteY510" fmla="*/ 509892 h 509892"/>
              <a:gd name="connsiteX511" fmla="*/ 905835 w 1337274"/>
              <a:gd name="connsiteY511" fmla="*/ 509892 h 509892"/>
              <a:gd name="connsiteX512" fmla="*/ 901477 w 1337274"/>
              <a:gd name="connsiteY512" fmla="*/ 509892 h 509892"/>
              <a:gd name="connsiteX513" fmla="*/ 901474 w 1337274"/>
              <a:gd name="connsiteY513" fmla="*/ 509892 h 509892"/>
              <a:gd name="connsiteX514" fmla="*/ 901464 w 1337274"/>
              <a:gd name="connsiteY514" fmla="*/ 509892 h 509892"/>
              <a:gd name="connsiteX515" fmla="*/ 899251 w 1337274"/>
              <a:gd name="connsiteY515" fmla="*/ 509892 h 509892"/>
              <a:gd name="connsiteX516" fmla="*/ 899249 w 1337274"/>
              <a:gd name="connsiteY516" fmla="*/ 509892 h 509892"/>
              <a:gd name="connsiteX517" fmla="*/ 894880 w 1337274"/>
              <a:gd name="connsiteY517" fmla="*/ 509892 h 509892"/>
              <a:gd name="connsiteX518" fmla="*/ 894877 w 1337274"/>
              <a:gd name="connsiteY518" fmla="*/ 509892 h 509892"/>
              <a:gd name="connsiteX519" fmla="*/ 891356 w 1337274"/>
              <a:gd name="connsiteY519" fmla="*/ 509892 h 509892"/>
              <a:gd name="connsiteX520" fmla="*/ 891355 w 1337274"/>
              <a:gd name="connsiteY520" fmla="*/ 509892 h 509892"/>
              <a:gd name="connsiteX521" fmla="*/ 882862 w 1337274"/>
              <a:gd name="connsiteY521" fmla="*/ 509892 h 509892"/>
              <a:gd name="connsiteX522" fmla="*/ 882861 w 1337274"/>
              <a:gd name="connsiteY522" fmla="*/ 509892 h 509892"/>
              <a:gd name="connsiteX523" fmla="*/ 880328 w 1337274"/>
              <a:gd name="connsiteY523" fmla="*/ 509892 h 509892"/>
              <a:gd name="connsiteX524" fmla="*/ 876266 w 1337274"/>
              <a:gd name="connsiteY524" fmla="*/ 509892 h 509892"/>
              <a:gd name="connsiteX525" fmla="*/ 876265 w 1337274"/>
              <a:gd name="connsiteY525" fmla="*/ 509892 h 509892"/>
              <a:gd name="connsiteX526" fmla="*/ 873404 w 1337274"/>
              <a:gd name="connsiteY526" fmla="*/ 509892 h 509892"/>
              <a:gd name="connsiteX527" fmla="*/ 873401 w 1337274"/>
              <a:gd name="connsiteY527" fmla="*/ 509892 h 509892"/>
              <a:gd name="connsiteX528" fmla="*/ 871834 w 1337274"/>
              <a:gd name="connsiteY528" fmla="*/ 509892 h 509892"/>
              <a:gd name="connsiteX529" fmla="*/ 869032 w 1337274"/>
              <a:gd name="connsiteY529" fmla="*/ 509892 h 509892"/>
              <a:gd name="connsiteX530" fmla="*/ 869030 w 1337274"/>
              <a:gd name="connsiteY530" fmla="*/ 509892 h 509892"/>
              <a:gd name="connsiteX531" fmla="*/ 866807 w 1337274"/>
              <a:gd name="connsiteY531" fmla="*/ 509892 h 509892"/>
              <a:gd name="connsiteX532" fmla="*/ 866805 w 1337274"/>
              <a:gd name="connsiteY532" fmla="*/ 509892 h 509892"/>
              <a:gd name="connsiteX533" fmla="*/ 865250 w 1337274"/>
              <a:gd name="connsiteY533" fmla="*/ 509892 h 509892"/>
              <a:gd name="connsiteX534" fmla="*/ 865247 w 1337274"/>
              <a:gd name="connsiteY534" fmla="*/ 509892 h 509892"/>
              <a:gd name="connsiteX535" fmla="*/ 865237 w 1337274"/>
              <a:gd name="connsiteY535" fmla="*/ 509892 h 509892"/>
              <a:gd name="connsiteX536" fmla="*/ 862436 w 1337274"/>
              <a:gd name="connsiteY536" fmla="*/ 509892 h 509892"/>
              <a:gd name="connsiteX537" fmla="*/ 862433 w 1337274"/>
              <a:gd name="connsiteY537" fmla="*/ 509892 h 509892"/>
              <a:gd name="connsiteX538" fmla="*/ 861932 w 1337274"/>
              <a:gd name="connsiteY538" fmla="*/ 509892 h 509892"/>
              <a:gd name="connsiteX539" fmla="*/ 861930 w 1337274"/>
              <a:gd name="connsiteY539" fmla="*/ 509892 h 509892"/>
              <a:gd name="connsiteX540" fmla="*/ 858313 w 1337274"/>
              <a:gd name="connsiteY540" fmla="*/ 509892 h 509892"/>
              <a:gd name="connsiteX541" fmla="*/ 858311 w 1337274"/>
              <a:gd name="connsiteY541" fmla="*/ 509892 h 509892"/>
              <a:gd name="connsiteX542" fmla="*/ 853942 w 1337274"/>
              <a:gd name="connsiteY542" fmla="*/ 509892 h 509892"/>
              <a:gd name="connsiteX543" fmla="*/ 853939 w 1337274"/>
              <a:gd name="connsiteY543" fmla="*/ 509892 h 509892"/>
              <a:gd name="connsiteX544" fmla="*/ 853735 w 1337274"/>
              <a:gd name="connsiteY544" fmla="*/ 509892 h 509892"/>
              <a:gd name="connsiteX545" fmla="*/ 853734 w 1337274"/>
              <a:gd name="connsiteY545" fmla="*/ 509892 h 509892"/>
              <a:gd name="connsiteX546" fmla="*/ 850417 w 1337274"/>
              <a:gd name="connsiteY546" fmla="*/ 509892 h 509892"/>
              <a:gd name="connsiteX547" fmla="*/ 850416 w 1337274"/>
              <a:gd name="connsiteY547" fmla="*/ 509892 h 509892"/>
              <a:gd name="connsiteX548" fmla="*/ 847139 w 1337274"/>
              <a:gd name="connsiteY548" fmla="*/ 509892 h 509892"/>
              <a:gd name="connsiteX549" fmla="*/ 847138 w 1337274"/>
              <a:gd name="connsiteY549" fmla="*/ 509892 h 509892"/>
              <a:gd name="connsiteX550" fmla="*/ 846635 w 1337274"/>
              <a:gd name="connsiteY550" fmla="*/ 509892 h 509892"/>
              <a:gd name="connsiteX551" fmla="*/ 846634 w 1337274"/>
              <a:gd name="connsiteY551" fmla="*/ 509892 h 509892"/>
              <a:gd name="connsiteX552" fmla="*/ 843833 w 1337274"/>
              <a:gd name="connsiteY552" fmla="*/ 509892 h 509892"/>
              <a:gd name="connsiteX553" fmla="*/ 843831 w 1337274"/>
              <a:gd name="connsiteY553" fmla="*/ 509892 h 509892"/>
              <a:gd name="connsiteX554" fmla="*/ 843821 w 1337274"/>
              <a:gd name="connsiteY554" fmla="*/ 509892 h 509892"/>
              <a:gd name="connsiteX555" fmla="*/ 843820 w 1337274"/>
              <a:gd name="connsiteY555" fmla="*/ 509892 h 509892"/>
              <a:gd name="connsiteX556" fmla="*/ 842264 w 1337274"/>
              <a:gd name="connsiteY556" fmla="*/ 509892 h 509892"/>
              <a:gd name="connsiteX557" fmla="*/ 838645 w 1337274"/>
              <a:gd name="connsiteY557" fmla="*/ 509892 h 509892"/>
              <a:gd name="connsiteX558" fmla="*/ 838644 w 1337274"/>
              <a:gd name="connsiteY558" fmla="*/ 509892 h 509892"/>
              <a:gd name="connsiteX559" fmla="*/ 835339 w 1337274"/>
              <a:gd name="connsiteY559" fmla="*/ 509892 h 509892"/>
              <a:gd name="connsiteX560" fmla="*/ 835337 w 1337274"/>
              <a:gd name="connsiteY560" fmla="*/ 509892 h 509892"/>
              <a:gd name="connsiteX561" fmla="*/ 835327 w 1337274"/>
              <a:gd name="connsiteY561" fmla="*/ 509892 h 509892"/>
              <a:gd name="connsiteX562" fmla="*/ 835326 w 1337274"/>
              <a:gd name="connsiteY562" fmla="*/ 509892 h 509892"/>
              <a:gd name="connsiteX563" fmla="*/ 832805 w 1337274"/>
              <a:gd name="connsiteY563" fmla="*/ 509892 h 509892"/>
              <a:gd name="connsiteX564" fmla="*/ 832803 w 1337274"/>
              <a:gd name="connsiteY564" fmla="*/ 509892 h 509892"/>
              <a:gd name="connsiteX565" fmla="*/ 828742 w 1337274"/>
              <a:gd name="connsiteY565" fmla="*/ 509892 h 509892"/>
              <a:gd name="connsiteX566" fmla="*/ 828741 w 1337274"/>
              <a:gd name="connsiteY566" fmla="*/ 509892 h 509892"/>
              <a:gd name="connsiteX567" fmla="*/ 824311 w 1337274"/>
              <a:gd name="connsiteY567" fmla="*/ 509892 h 509892"/>
              <a:gd name="connsiteX568" fmla="*/ 824309 w 1337274"/>
              <a:gd name="connsiteY568" fmla="*/ 509892 h 509892"/>
              <a:gd name="connsiteX569" fmla="*/ 817715 w 1337274"/>
              <a:gd name="connsiteY569" fmla="*/ 509892 h 509892"/>
              <a:gd name="connsiteX570" fmla="*/ 817712 w 1337274"/>
              <a:gd name="connsiteY570" fmla="*/ 509892 h 509892"/>
              <a:gd name="connsiteX571" fmla="*/ 814190 w 1337274"/>
              <a:gd name="connsiteY571" fmla="*/ 509892 h 509892"/>
              <a:gd name="connsiteX572" fmla="*/ 809819 w 1337274"/>
              <a:gd name="connsiteY572" fmla="*/ 509892 h 509892"/>
              <a:gd name="connsiteX573" fmla="*/ 806213 w 1337274"/>
              <a:gd name="connsiteY573" fmla="*/ 509892 h 509892"/>
              <a:gd name="connsiteX574" fmla="*/ 806209 w 1337274"/>
              <a:gd name="connsiteY574" fmla="*/ 509892 h 509892"/>
              <a:gd name="connsiteX575" fmla="*/ 806200 w 1337274"/>
              <a:gd name="connsiteY575" fmla="*/ 509892 h 509892"/>
              <a:gd name="connsiteX576" fmla="*/ 805696 w 1337274"/>
              <a:gd name="connsiteY576" fmla="*/ 509892 h 509892"/>
              <a:gd name="connsiteX577" fmla="*/ 802895 w 1337274"/>
              <a:gd name="connsiteY577" fmla="*/ 509892 h 509892"/>
              <a:gd name="connsiteX578" fmla="*/ 802892 w 1337274"/>
              <a:gd name="connsiteY578" fmla="*/ 509892 h 509892"/>
              <a:gd name="connsiteX579" fmla="*/ 801325 w 1337274"/>
              <a:gd name="connsiteY579" fmla="*/ 509892 h 509892"/>
              <a:gd name="connsiteX580" fmla="*/ 799615 w 1337274"/>
              <a:gd name="connsiteY580" fmla="*/ 509892 h 509892"/>
              <a:gd name="connsiteX581" fmla="*/ 799613 w 1337274"/>
              <a:gd name="connsiteY581" fmla="*/ 509892 h 509892"/>
              <a:gd name="connsiteX582" fmla="*/ 799112 w 1337274"/>
              <a:gd name="connsiteY582" fmla="*/ 509892 h 509892"/>
              <a:gd name="connsiteX583" fmla="*/ 799110 w 1337274"/>
              <a:gd name="connsiteY583" fmla="*/ 509892 h 509892"/>
              <a:gd name="connsiteX584" fmla="*/ 799100 w 1337274"/>
              <a:gd name="connsiteY584" fmla="*/ 509892 h 509892"/>
              <a:gd name="connsiteX585" fmla="*/ 799099 w 1337274"/>
              <a:gd name="connsiteY585" fmla="*/ 509892 h 509892"/>
              <a:gd name="connsiteX586" fmla="*/ 796298 w 1337274"/>
              <a:gd name="connsiteY586" fmla="*/ 509892 h 509892"/>
              <a:gd name="connsiteX587" fmla="*/ 796296 w 1337274"/>
              <a:gd name="connsiteY587" fmla="*/ 509892 h 509892"/>
              <a:gd name="connsiteX588" fmla="*/ 794741 w 1337274"/>
              <a:gd name="connsiteY588" fmla="*/ 509892 h 509892"/>
              <a:gd name="connsiteX589" fmla="*/ 794739 w 1337274"/>
              <a:gd name="connsiteY589" fmla="*/ 509892 h 509892"/>
              <a:gd name="connsiteX590" fmla="*/ 794728 w 1337274"/>
              <a:gd name="connsiteY590" fmla="*/ 509892 h 509892"/>
              <a:gd name="connsiteX591" fmla="*/ 791122 w 1337274"/>
              <a:gd name="connsiteY591" fmla="*/ 509892 h 509892"/>
              <a:gd name="connsiteX592" fmla="*/ 791119 w 1337274"/>
              <a:gd name="connsiteY592" fmla="*/ 509892 h 509892"/>
              <a:gd name="connsiteX593" fmla="*/ 787804 w 1337274"/>
              <a:gd name="connsiteY593" fmla="*/ 509892 h 509892"/>
              <a:gd name="connsiteX594" fmla="*/ 787802 w 1337274"/>
              <a:gd name="connsiteY594" fmla="*/ 509892 h 509892"/>
              <a:gd name="connsiteX595" fmla="*/ 787598 w 1337274"/>
              <a:gd name="connsiteY595" fmla="*/ 509892 h 509892"/>
              <a:gd name="connsiteX596" fmla="*/ 787597 w 1337274"/>
              <a:gd name="connsiteY596" fmla="*/ 509892 h 509892"/>
              <a:gd name="connsiteX597" fmla="*/ 783227 w 1337274"/>
              <a:gd name="connsiteY597" fmla="*/ 509892 h 509892"/>
              <a:gd name="connsiteX598" fmla="*/ 783226 w 1337274"/>
              <a:gd name="connsiteY598" fmla="*/ 509892 h 509892"/>
              <a:gd name="connsiteX599" fmla="*/ 781001 w 1337274"/>
              <a:gd name="connsiteY599" fmla="*/ 509892 h 509892"/>
              <a:gd name="connsiteX600" fmla="*/ 781000 w 1337274"/>
              <a:gd name="connsiteY600" fmla="*/ 509892 h 509892"/>
              <a:gd name="connsiteX601" fmla="*/ 776631 w 1337274"/>
              <a:gd name="connsiteY601" fmla="*/ 509892 h 509892"/>
              <a:gd name="connsiteX602" fmla="*/ 776629 w 1337274"/>
              <a:gd name="connsiteY602" fmla="*/ 509892 h 509892"/>
              <a:gd name="connsiteX603" fmla="*/ 776126 w 1337274"/>
              <a:gd name="connsiteY603" fmla="*/ 509892 h 509892"/>
              <a:gd name="connsiteX604" fmla="*/ 776125 w 1337274"/>
              <a:gd name="connsiteY604" fmla="*/ 509892 h 509892"/>
              <a:gd name="connsiteX605" fmla="*/ 772508 w 1337274"/>
              <a:gd name="connsiteY605" fmla="*/ 509892 h 509892"/>
              <a:gd name="connsiteX606" fmla="*/ 772507 w 1337274"/>
              <a:gd name="connsiteY606" fmla="*/ 509892 h 509892"/>
              <a:gd name="connsiteX607" fmla="*/ 768137 w 1337274"/>
              <a:gd name="connsiteY607" fmla="*/ 509892 h 509892"/>
              <a:gd name="connsiteX608" fmla="*/ 768136 w 1337274"/>
              <a:gd name="connsiteY608" fmla="*/ 509892 h 509892"/>
              <a:gd name="connsiteX609" fmla="*/ 766668 w 1337274"/>
              <a:gd name="connsiteY609" fmla="*/ 509892 h 509892"/>
              <a:gd name="connsiteX610" fmla="*/ 766666 w 1337274"/>
              <a:gd name="connsiteY610" fmla="*/ 509892 h 509892"/>
              <a:gd name="connsiteX611" fmla="*/ 762296 w 1337274"/>
              <a:gd name="connsiteY611" fmla="*/ 509892 h 509892"/>
              <a:gd name="connsiteX612" fmla="*/ 762294 w 1337274"/>
              <a:gd name="connsiteY612" fmla="*/ 509892 h 509892"/>
              <a:gd name="connsiteX613" fmla="*/ 758678 w 1337274"/>
              <a:gd name="connsiteY613" fmla="*/ 509892 h 509892"/>
              <a:gd name="connsiteX614" fmla="*/ 758675 w 1337274"/>
              <a:gd name="connsiteY614" fmla="*/ 509892 h 509892"/>
              <a:gd name="connsiteX615" fmla="*/ 758174 w 1337274"/>
              <a:gd name="connsiteY615" fmla="*/ 509892 h 509892"/>
              <a:gd name="connsiteX616" fmla="*/ 758172 w 1337274"/>
              <a:gd name="connsiteY616" fmla="*/ 509892 h 509892"/>
              <a:gd name="connsiteX617" fmla="*/ 753802 w 1337274"/>
              <a:gd name="connsiteY617" fmla="*/ 509892 h 509892"/>
              <a:gd name="connsiteX618" fmla="*/ 753800 w 1337274"/>
              <a:gd name="connsiteY618" fmla="*/ 509892 h 509892"/>
              <a:gd name="connsiteX619" fmla="*/ 751578 w 1337274"/>
              <a:gd name="connsiteY619" fmla="*/ 509892 h 509892"/>
              <a:gd name="connsiteX620" fmla="*/ 751575 w 1337274"/>
              <a:gd name="connsiteY620" fmla="*/ 509892 h 509892"/>
              <a:gd name="connsiteX621" fmla="*/ 747206 w 1337274"/>
              <a:gd name="connsiteY621" fmla="*/ 509892 h 509892"/>
              <a:gd name="connsiteX622" fmla="*/ 747203 w 1337274"/>
              <a:gd name="connsiteY622" fmla="*/ 509892 h 509892"/>
              <a:gd name="connsiteX623" fmla="*/ 746999 w 1337274"/>
              <a:gd name="connsiteY623" fmla="*/ 509892 h 509892"/>
              <a:gd name="connsiteX624" fmla="*/ 743681 w 1337274"/>
              <a:gd name="connsiteY624" fmla="*/ 509892 h 509892"/>
              <a:gd name="connsiteX625" fmla="*/ 740075 w 1337274"/>
              <a:gd name="connsiteY625" fmla="*/ 509892 h 509892"/>
              <a:gd name="connsiteX626" fmla="*/ 740073 w 1337274"/>
              <a:gd name="connsiteY626" fmla="*/ 509892 h 509892"/>
              <a:gd name="connsiteX627" fmla="*/ 740063 w 1337274"/>
              <a:gd name="connsiteY627" fmla="*/ 509892 h 509892"/>
              <a:gd name="connsiteX628" fmla="*/ 740062 w 1337274"/>
              <a:gd name="connsiteY628" fmla="*/ 509892 h 509892"/>
              <a:gd name="connsiteX629" fmla="*/ 738506 w 1337274"/>
              <a:gd name="connsiteY629" fmla="*/ 509892 h 509892"/>
              <a:gd name="connsiteX630" fmla="*/ 735704 w 1337274"/>
              <a:gd name="connsiteY630" fmla="*/ 509892 h 509892"/>
              <a:gd name="connsiteX631" fmla="*/ 735701 w 1337274"/>
              <a:gd name="connsiteY631" fmla="*/ 509892 h 509892"/>
              <a:gd name="connsiteX632" fmla="*/ 735691 w 1337274"/>
              <a:gd name="connsiteY632" fmla="*/ 509892 h 509892"/>
              <a:gd name="connsiteX633" fmla="*/ 735187 w 1337274"/>
              <a:gd name="connsiteY633" fmla="*/ 509892 h 509892"/>
              <a:gd name="connsiteX634" fmla="*/ 733478 w 1337274"/>
              <a:gd name="connsiteY634" fmla="*/ 509892 h 509892"/>
              <a:gd name="connsiteX635" fmla="*/ 733476 w 1337274"/>
              <a:gd name="connsiteY635" fmla="*/ 509892 h 509892"/>
              <a:gd name="connsiteX636" fmla="*/ 731909 w 1337274"/>
              <a:gd name="connsiteY636" fmla="*/ 509892 h 509892"/>
              <a:gd name="connsiteX637" fmla="*/ 731908 w 1337274"/>
              <a:gd name="connsiteY637" fmla="*/ 509892 h 509892"/>
              <a:gd name="connsiteX638" fmla="*/ 729107 w 1337274"/>
              <a:gd name="connsiteY638" fmla="*/ 509892 h 509892"/>
              <a:gd name="connsiteX639" fmla="*/ 729104 w 1337274"/>
              <a:gd name="connsiteY639" fmla="*/ 509892 h 509892"/>
              <a:gd name="connsiteX640" fmla="*/ 728603 w 1337274"/>
              <a:gd name="connsiteY640" fmla="*/ 509892 h 509892"/>
              <a:gd name="connsiteX641" fmla="*/ 728601 w 1337274"/>
              <a:gd name="connsiteY641" fmla="*/ 509892 h 509892"/>
              <a:gd name="connsiteX642" fmla="*/ 728591 w 1337274"/>
              <a:gd name="connsiteY642" fmla="*/ 509892 h 509892"/>
              <a:gd name="connsiteX643" fmla="*/ 728590 w 1337274"/>
              <a:gd name="connsiteY643" fmla="*/ 509892 h 509892"/>
              <a:gd name="connsiteX644" fmla="*/ 724984 w 1337274"/>
              <a:gd name="connsiteY644" fmla="*/ 509892 h 509892"/>
              <a:gd name="connsiteX645" fmla="*/ 724983 w 1337274"/>
              <a:gd name="connsiteY645" fmla="*/ 509892 h 509892"/>
              <a:gd name="connsiteX646" fmla="*/ 720613 w 1337274"/>
              <a:gd name="connsiteY646" fmla="*/ 509892 h 509892"/>
              <a:gd name="connsiteX647" fmla="*/ 720611 w 1337274"/>
              <a:gd name="connsiteY647" fmla="*/ 509892 h 509892"/>
              <a:gd name="connsiteX648" fmla="*/ 717089 w 1337274"/>
              <a:gd name="connsiteY648" fmla="*/ 509892 h 509892"/>
              <a:gd name="connsiteX649" fmla="*/ 717088 w 1337274"/>
              <a:gd name="connsiteY649" fmla="*/ 509892 h 509892"/>
              <a:gd name="connsiteX650" fmla="*/ 710493 w 1337274"/>
              <a:gd name="connsiteY650" fmla="*/ 509892 h 509892"/>
              <a:gd name="connsiteX651" fmla="*/ 710492 w 1337274"/>
              <a:gd name="connsiteY651" fmla="*/ 509892 h 509892"/>
              <a:gd name="connsiteX652" fmla="*/ 706061 w 1337274"/>
              <a:gd name="connsiteY652" fmla="*/ 509892 h 509892"/>
              <a:gd name="connsiteX653" fmla="*/ 701999 w 1337274"/>
              <a:gd name="connsiteY653" fmla="*/ 509892 h 509892"/>
              <a:gd name="connsiteX654" fmla="*/ 701998 w 1337274"/>
              <a:gd name="connsiteY654" fmla="*/ 509892 h 509892"/>
              <a:gd name="connsiteX655" fmla="*/ 699477 w 1337274"/>
              <a:gd name="connsiteY655" fmla="*/ 509892 h 509892"/>
              <a:gd name="connsiteX656" fmla="*/ 699474 w 1337274"/>
              <a:gd name="connsiteY656" fmla="*/ 509892 h 509892"/>
              <a:gd name="connsiteX657" fmla="*/ 699464 w 1337274"/>
              <a:gd name="connsiteY657" fmla="*/ 509892 h 509892"/>
              <a:gd name="connsiteX658" fmla="*/ 696159 w 1337274"/>
              <a:gd name="connsiteY658" fmla="*/ 509892 h 509892"/>
              <a:gd name="connsiteX659" fmla="*/ 696157 w 1337274"/>
              <a:gd name="connsiteY659" fmla="*/ 509892 h 509892"/>
              <a:gd name="connsiteX660" fmla="*/ 692540 w 1337274"/>
              <a:gd name="connsiteY660" fmla="*/ 509892 h 509892"/>
              <a:gd name="connsiteX661" fmla="*/ 692538 w 1337274"/>
              <a:gd name="connsiteY661" fmla="*/ 509892 h 509892"/>
              <a:gd name="connsiteX662" fmla="*/ 690983 w 1337274"/>
              <a:gd name="connsiteY662" fmla="*/ 509892 h 509892"/>
              <a:gd name="connsiteX663" fmla="*/ 690981 w 1337274"/>
              <a:gd name="connsiteY663" fmla="*/ 509892 h 509892"/>
              <a:gd name="connsiteX664" fmla="*/ 690970 w 1337274"/>
              <a:gd name="connsiteY664" fmla="*/ 509892 h 509892"/>
              <a:gd name="connsiteX665" fmla="*/ 688169 w 1337274"/>
              <a:gd name="connsiteY665" fmla="*/ 509892 h 509892"/>
              <a:gd name="connsiteX666" fmla="*/ 688166 w 1337274"/>
              <a:gd name="connsiteY666" fmla="*/ 509892 h 509892"/>
              <a:gd name="connsiteX667" fmla="*/ 687666 w 1337274"/>
              <a:gd name="connsiteY667" fmla="*/ 509892 h 509892"/>
              <a:gd name="connsiteX668" fmla="*/ 687663 w 1337274"/>
              <a:gd name="connsiteY668" fmla="*/ 509892 h 509892"/>
              <a:gd name="connsiteX669" fmla="*/ 684387 w 1337274"/>
              <a:gd name="connsiteY669" fmla="*/ 509892 h 509892"/>
              <a:gd name="connsiteX670" fmla="*/ 684383 w 1337274"/>
              <a:gd name="connsiteY670" fmla="*/ 509892 h 509892"/>
              <a:gd name="connsiteX671" fmla="*/ 681069 w 1337274"/>
              <a:gd name="connsiteY671" fmla="*/ 509892 h 509892"/>
              <a:gd name="connsiteX672" fmla="*/ 681066 w 1337274"/>
              <a:gd name="connsiteY672" fmla="*/ 509892 h 509892"/>
              <a:gd name="connsiteX673" fmla="*/ 680862 w 1337274"/>
              <a:gd name="connsiteY673" fmla="*/ 509892 h 509892"/>
              <a:gd name="connsiteX674" fmla="*/ 680861 w 1337274"/>
              <a:gd name="connsiteY674" fmla="*/ 509892 h 509892"/>
              <a:gd name="connsiteX675" fmla="*/ 676491 w 1337274"/>
              <a:gd name="connsiteY675" fmla="*/ 509892 h 509892"/>
              <a:gd name="connsiteX676" fmla="*/ 672872 w 1337274"/>
              <a:gd name="connsiteY676" fmla="*/ 509892 h 509892"/>
              <a:gd name="connsiteX677" fmla="*/ 672871 w 1337274"/>
              <a:gd name="connsiteY677" fmla="*/ 509892 h 509892"/>
              <a:gd name="connsiteX678" fmla="*/ 672368 w 1337274"/>
              <a:gd name="connsiteY678" fmla="*/ 509892 h 509892"/>
              <a:gd name="connsiteX679" fmla="*/ 672367 w 1337274"/>
              <a:gd name="connsiteY679" fmla="*/ 509892 h 509892"/>
              <a:gd name="connsiteX680" fmla="*/ 669566 w 1337274"/>
              <a:gd name="connsiteY680" fmla="*/ 509892 h 509892"/>
              <a:gd name="connsiteX681" fmla="*/ 669564 w 1337274"/>
              <a:gd name="connsiteY681" fmla="*/ 509892 h 509892"/>
              <a:gd name="connsiteX682" fmla="*/ 669554 w 1337274"/>
              <a:gd name="connsiteY682" fmla="*/ 509892 h 509892"/>
              <a:gd name="connsiteX683" fmla="*/ 669553 w 1337274"/>
              <a:gd name="connsiteY683" fmla="*/ 509892 h 509892"/>
              <a:gd name="connsiteX684" fmla="*/ 667997 w 1337274"/>
              <a:gd name="connsiteY684" fmla="*/ 509892 h 509892"/>
              <a:gd name="connsiteX685" fmla="*/ 665772 w 1337274"/>
              <a:gd name="connsiteY685" fmla="*/ 509892 h 509892"/>
              <a:gd name="connsiteX686" fmla="*/ 665771 w 1337274"/>
              <a:gd name="connsiteY686" fmla="*/ 509892 h 509892"/>
              <a:gd name="connsiteX687" fmla="*/ 662969 w 1337274"/>
              <a:gd name="connsiteY687" fmla="*/ 509892 h 509892"/>
              <a:gd name="connsiteX688" fmla="*/ 662968 w 1337274"/>
              <a:gd name="connsiteY688" fmla="*/ 509892 h 509892"/>
              <a:gd name="connsiteX689" fmla="*/ 661401 w 1337274"/>
              <a:gd name="connsiteY689" fmla="*/ 509892 h 509892"/>
              <a:gd name="connsiteX690" fmla="*/ 661400 w 1337274"/>
              <a:gd name="connsiteY690" fmla="*/ 509892 h 509892"/>
              <a:gd name="connsiteX691" fmla="*/ 658538 w 1337274"/>
              <a:gd name="connsiteY691" fmla="*/ 509892 h 509892"/>
              <a:gd name="connsiteX692" fmla="*/ 658536 w 1337274"/>
              <a:gd name="connsiteY692" fmla="*/ 509892 h 509892"/>
              <a:gd name="connsiteX693" fmla="*/ 654475 w 1337274"/>
              <a:gd name="connsiteY693" fmla="*/ 509892 h 509892"/>
              <a:gd name="connsiteX694" fmla="*/ 654474 w 1337274"/>
              <a:gd name="connsiteY694" fmla="*/ 509892 h 509892"/>
              <a:gd name="connsiteX695" fmla="*/ 651942 w 1337274"/>
              <a:gd name="connsiteY695" fmla="*/ 509892 h 509892"/>
              <a:gd name="connsiteX696" fmla="*/ 651939 w 1337274"/>
              <a:gd name="connsiteY696" fmla="*/ 509892 h 509892"/>
              <a:gd name="connsiteX697" fmla="*/ 643448 w 1337274"/>
              <a:gd name="connsiteY697" fmla="*/ 509892 h 509892"/>
              <a:gd name="connsiteX698" fmla="*/ 643445 w 1337274"/>
              <a:gd name="connsiteY698" fmla="*/ 509892 h 509892"/>
              <a:gd name="connsiteX699" fmla="*/ 639923 w 1337274"/>
              <a:gd name="connsiteY699" fmla="*/ 509892 h 509892"/>
              <a:gd name="connsiteX700" fmla="*/ 635552 w 1337274"/>
              <a:gd name="connsiteY700" fmla="*/ 509892 h 509892"/>
              <a:gd name="connsiteX701" fmla="*/ 633339 w 1337274"/>
              <a:gd name="connsiteY701" fmla="*/ 509892 h 509892"/>
              <a:gd name="connsiteX702" fmla="*/ 633337 w 1337274"/>
              <a:gd name="connsiteY702" fmla="*/ 509892 h 509892"/>
              <a:gd name="connsiteX703" fmla="*/ 633327 w 1337274"/>
              <a:gd name="connsiteY703" fmla="*/ 509892 h 509892"/>
              <a:gd name="connsiteX704" fmla="*/ 633326 w 1337274"/>
              <a:gd name="connsiteY704" fmla="*/ 509892 h 509892"/>
              <a:gd name="connsiteX705" fmla="*/ 628968 w 1337274"/>
              <a:gd name="connsiteY705" fmla="*/ 509892 h 509892"/>
              <a:gd name="connsiteX706" fmla="*/ 628966 w 1337274"/>
              <a:gd name="connsiteY706" fmla="*/ 509892 h 509892"/>
              <a:gd name="connsiteX707" fmla="*/ 628955 w 1337274"/>
              <a:gd name="connsiteY707" fmla="*/ 509892 h 509892"/>
              <a:gd name="connsiteX708" fmla="*/ 625349 w 1337274"/>
              <a:gd name="connsiteY708" fmla="*/ 509892 h 509892"/>
              <a:gd name="connsiteX709" fmla="*/ 625346 w 1337274"/>
              <a:gd name="connsiteY709" fmla="*/ 509892 h 509892"/>
              <a:gd name="connsiteX710" fmla="*/ 624845 w 1337274"/>
              <a:gd name="connsiteY710" fmla="*/ 509892 h 509892"/>
              <a:gd name="connsiteX711" fmla="*/ 624843 w 1337274"/>
              <a:gd name="connsiteY711" fmla="*/ 509892 h 509892"/>
              <a:gd name="connsiteX712" fmla="*/ 624833 w 1337274"/>
              <a:gd name="connsiteY712" fmla="*/ 509892 h 509892"/>
              <a:gd name="connsiteX713" fmla="*/ 624832 w 1337274"/>
              <a:gd name="connsiteY713" fmla="*/ 509892 h 509892"/>
              <a:gd name="connsiteX714" fmla="*/ 622031 w 1337274"/>
              <a:gd name="connsiteY714" fmla="*/ 509892 h 509892"/>
              <a:gd name="connsiteX715" fmla="*/ 622029 w 1337274"/>
              <a:gd name="connsiteY715" fmla="*/ 509892 h 509892"/>
              <a:gd name="connsiteX716" fmla="*/ 620474 w 1337274"/>
              <a:gd name="connsiteY716" fmla="*/ 509892 h 509892"/>
              <a:gd name="connsiteX717" fmla="*/ 620472 w 1337274"/>
              <a:gd name="connsiteY717" fmla="*/ 509892 h 509892"/>
              <a:gd name="connsiteX718" fmla="*/ 620461 w 1337274"/>
              <a:gd name="connsiteY718" fmla="*/ 509892 h 509892"/>
              <a:gd name="connsiteX719" fmla="*/ 618249 w 1337274"/>
              <a:gd name="connsiteY719" fmla="*/ 509892 h 509892"/>
              <a:gd name="connsiteX720" fmla="*/ 618247 w 1337274"/>
              <a:gd name="connsiteY720" fmla="*/ 509892 h 509892"/>
              <a:gd name="connsiteX721" fmla="*/ 610353 w 1337274"/>
              <a:gd name="connsiteY721" fmla="*/ 509892 h 509892"/>
              <a:gd name="connsiteX722" fmla="*/ 610352 w 1337274"/>
              <a:gd name="connsiteY722" fmla="*/ 509892 h 509892"/>
              <a:gd name="connsiteX723" fmla="*/ 606735 w 1337274"/>
              <a:gd name="connsiteY723" fmla="*/ 509892 h 509892"/>
              <a:gd name="connsiteX724" fmla="*/ 606734 w 1337274"/>
              <a:gd name="connsiteY724" fmla="*/ 509892 h 509892"/>
              <a:gd name="connsiteX725" fmla="*/ 602364 w 1337274"/>
              <a:gd name="connsiteY725" fmla="*/ 509892 h 509892"/>
              <a:gd name="connsiteX726" fmla="*/ 602363 w 1337274"/>
              <a:gd name="connsiteY726" fmla="*/ 509892 h 509892"/>
              <a:gd name="connsiteX727" fmla="*/ 592401 w 1337274"/>
              <a:gd name="connsiteY727" fmla="*/ 509892 h 509892"/>
              <a:gd name="connsiteX728" fmla="*/ 592399 w 1337274"/>
              <a:gd name="connsiteY728" fmla="*/ 509892 h 509892"/>
              <a:gd name="connsiteX729" fmla="*/ 588029 w 1337274"/>
              <a:gd name="connsiteY729" fmla="*/ 509892 h 509892"/>
              <a:gd name="connsiteX730" fmla="*/ 588027 w 1337274"/>
              <a:gd name="connsiteY730" fmla="*/ 509892 h 509892"/>
              <a:gd name="connsiteX731" fmla="*/ 585805 w 1337274"/>
              <a:gd name="connsiteY731" fmla="*/ 509892 h 509892"/>
              <a:gd name="connsiteX732" fmla="*/ 585802 w 1337274"/>
              <a:gd name="connsiteY732" fmla="*/ 509892 h 509892"/>
              <a:gd name="connsiteX733" fmla="*/ 581433 w 1337274"/>
              <a:gd name="connsiteY733" fmla="*/ 509892 h 509892"/>
              <a:gd name="connsiteX734" fmla="*/ 581430 w 1337274"/>
              <a:gd name="connsiteY734" fmla="*/ 509892 h 509892"/>
              <a:gd name="connsiteX735" fmla="*/ 572733 w 1337274"/>
              <a:gd name="connsiteY735" fmla="*/ 509892 h 509892"/>
              <a:gd name="connsiteX736" fmla="*/ 569414 w 1337274"/>
              <a:gd name="connsiteY736" fmla="*/ 509892 h 509892"/>
              <a:gd name="connsiteX737" fmla="*/ 566136 w 1337274"/>
              <a:gd name="connsiteY737" fmla="*/ 509892 h 509892"/>
              <a:gd name="connsiteX738" fmla="*/ 566135 w 1337274"/>
              <a:gd name="connsiteY738" fmla="*/ 509892 h 509892"/>
              <a:gd name="connsiteX739" fmla="*/ 562830 w 1337274"/>
              <a:gd name="connsiteY739" fmla="*/ 509892 h 509892"/>
              <a:gd name="connsiteX740" fmla="*/ 562828 w 1337274"/>
              <a:gd name="connsiteY740" fmla="*/ 509892 h 509892"/>
              <a:gd name="connsiteX741" fmla="*/ 562818 w 1337274"/>
              <a:gd name="connsiteY741" fmla="*/ 509892 h 509892"/>
              <a:gd name="connsiteX742" fmla="*/ 562817 w 1337274"/>
              <a:gd name="connsiteY742" fmla="*/ 509892 h 509892"/>
              <a:gd name="connsiteX743" fmla="*/ 559211 w 1337274"/>
              <a:gd name="connsiteY743" fmla="*/ 509892 h 509892"/>
              <a:gd name="connsiteX744" fmla="*/ 559210 w 1337274"/>
              <a:gd name="connsiteY744" fmla="*/ 509892 h 509892"/>
              <a:gd name="connsiteX745" fmla="*/ 554840 w 1337274"/>
              <a:gd name="connsiteY745" fmla="*/ 509892 h 509892"/>
              <a:gd name="connsiteX746" fmla="*/ 554838 w 1337274"/>
              <a:gd name="connsiteY746" fmla="*/ 509892 h 509892"/>
              <a:gd name="connsiteX747" fmla="*/ 536226 w 1337274"/>
              <a:gd name="connsiteY747" fmla="*/ 509892 h 509892"/>
              <a:gd name="connsiteX748" fmla="*/ 536225 w 1337274"/>
              <a:gd name="connsiteY748" fmla="*/ 509892 h 509892"/>
              <a:gd name="connsiteX749" fmla="*/ 525210 w 1337274"/>
              <a:gd name="connsiteY749" fmla="*/ 509892 h 509892"/>
              <a:gd name="connsiteX750" fmla="*/ 525208 w 1337274"/>
              <a:gd name="connsiteY750" fmla="*/ 509892 h 509892"/>
              <a:gd name="connsiteX751" fmla="*/ 525197 w 1337274"/>
              <a:gd name="connsiteY751" fmla="*/ 509892 h 509892"/>
              <a:gd name="connsiteX752" fmla="*/ 521893 w 1337274"/>
              <a:gd name="connsiteY752" fmla="*/ 509892 h 509892"/>
              <a:gd name="connsiteX753" fmla="*/ 521890 w 1337274"/>
              <a:gd name="connsiteY753" fmla="*/ 509892 h 509892"/>
              <a:gd name="connsiteX754" fmla="*/ 518614 w 1337274"/>
              <a:gd name="connsiteY754" fmla="*/ 509892 h 509892"/>
              <a:gd name="connsiteX755" fmla="*/ 518610 w 1337274"/>
              <a:gd name="connsiteY755" fmla="*/ 509892 h 509892"/>
              <a:gd name="connsiteX756" fmla="*/ 515296 w 1337274"/>
              <a:gd name="connsiteY756" fmla="*/ 509892 h 509892"/>
              <a:gd name="connsiteX757" fmla="*/ 515293 w 1337274"/>
              <a:gd name="connsiteY757" fmla="*/ 509892 h 509892"/>
              <a:gd name="connsiteX758" fmla="*/ 506595 w 1337274"/>
              <a:gd name="connsiteY758" fmla="*/ 509892 h 509892"/>
              <a:gd name="connsiteX759" fmla="*/ 506594 w 1337274"/>
              <a:gd name="connsiteY759" fmla="*/ 509892 h 509892"/>
              <a:gd name="connsiteX760" fmla="*/ 502224 w 1337274"/>
              <a:gd name="connsiteY760" fmla="*/ 509892 h 509892"/>
              <a:gd name="connsiteX761" fmla="*/ 499999 w 1337274"/>
              <a:gd name="connsiteY761" fmla="*/ 509892 h 509892"/>
              <a:gd name="connsiteX762" fmla="*/ 499998 w 1337274"/>
              <a:gd name="connsiteY762" fmla="*/ 509892 h 509892"/>
              <a:gd name="connsiteX763" fmla="*/ 495628 w 1337274"/>
              <a:gd name="connsiteY763" fmla="*/ 509892 h 509892"/>
              <a:gd name="connsiteX764" fmla="*/ 495627 w 1337274"/>
              <a:gd name="connsiteY764" fmla="*/ 509892 h 509892"/>
              <a:gd name="connsiteX765" fmla="*/ 488702 w 1337274"/>
              <a:gd name="connsiteY765" fmla="*/ 509892 h 509892"/>
              <a:gd name="connsiteX766" fmla="*/ 488701 w 1337274"/>
              <a:gd name="connsiteY766" fmla="*/ 509892 h 509892"/>
              <a:gd name="connsiteX767" fmla="*/ 477675 w 1337274"/>
              <a:gd name="connsiteY767" fmla="*/ 509892 h 509892"/>
              <a:gd name="connsiteX768" fmla="*/ 477672 w 1337274"/>
              <a:gd name="connsiteY768" fmla="*/ 509892 h 509892"/>
              <a:gd name="connsiteX769" fmla="*/ 459072 w 1337274"/>
              <a:gd name="connsiteY769" fmla="*/ 509892 h 509892"/>
              <a:gd name="connsiteX770" fmla="*/ 459070 w 1337274"/>
              <a:gd name="connsiteY770" fmla="*/ 509892 h 509892"/>
              <a:gd name="connsiteX771" fmla="*/ 459060 w 1337274"/>
              <a:gd name="connsiteY771" fmla="*/ 509892 h 509892"/>
              <a:gd name="connsiteX772" fmla="*/ 459059 w 1337274"/>
              <a:gd name="connsiteY772" fmla="*/ 509892 h 509892"/>
              <a:gd name="connsiteX773" fmla="*/ 454701 w 1337274"/>
              <a:gd name="connsiteY773" fmla="*/ 509892 h 509892"/>
              <a:gd name="connsiteX774" fmla="*/ 454699 w 1337274"/>
              <a:gd name="connsiteY774" fmla="*/ 509892 h 509892"/>
              <a:gd name="connsiteX775" fmla="*/ 454688 w 1337274"/>
              <a:gd name="connsiteY775" fmla="*/ 509892 h 509892"/>
              <a:gd name="connsiteX776" fmla="*/ 452476 w 1337274"/>
              <a:gd name="connsiteY776" fmla="*/ 509892 h 509892"/>
              <a:gd name="connsiteX777" fmla="*/ 452474 w 1337274"/>
              <a:gd name="connsiteY777" fmla="*/ 509892 h 509892"/>
              <a:gd name="connsiteX778" fmla="*/ 254947 w 1337274"/>
              <a:gd name="connsiteY778" fmla="*/ 509891 h 509892"/>
              <a:gd name="connsiteX779" fmla="*/ 5179 w 1337274"/>
              <a:gd name="connsiteY779" fmla="*/ 306326 h 509892"/>
              <a:gd name="connsiteX780" fmla="*/ 0 w 1337274"/>
              <a:gd name="connsiteY780" fmla="*/ 254947 h 509892"/>
              <a:gd name="connsiteX781" fmla="*/ 5179 w 1337274"/>
              <a:gd name="connsiteY781" fmla="*/ 203566 h 509892"/>
              <a:gd name="connsiteX782" fmla="*/ 254947 w 1337274"/>
              <a:gd name="connsiteY782" fmla="*/ 0 h 5098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</a:cxnLst>
            <a:rect l="l" t="t" r="r" b="b"/>
            <a:pathLst>
              <a:path w="1337274" h="509892">
                <a:moveTo>
                  <a:pt x="254947" y="0"/>
                </a:moveTo>
                <a:lnTo>
                  <a:pt x="255223" y="0"/>
                </a:lnTo>
                <a:lnTo>
                  <a:pt x="257162" y="0"/>
                </a:lnTo>
                <a:lnTo>
                  <a:pt x="257172" y="0"/>
                </a:lnTo>
                <a:lnTo>
                  <a:pt x="261533" y="0"/>
                </a:lnTo>
                <a:lnTo>
                  <a:pt x="261544" y="0"/>
                </a:lnTo>
                <a:lnTo>
                  <a:pt x="273836" y="0"/>
                </a:lnTo>
                <a:lnTo>
                  <a:pt x="278208" y="0"/>
                </a:lnTo>
                <a:lnTo>
                  <a:pt x="280145" y="0"/>
                </a:lnTo>
                <a:lnTo>
                  <a:pt x="291174" y="0"/>
                </a:lnTo>
                <a:lnTo>
                  <a:pt x="298100" y="0"/>
                </a:lnTo>
                <a:lnTo>
                  <a:pt x="302471" y="0"/>
                </a:lnTo>
                <a:lnTo>
                  <a:pt x="304697" y="0"/>
                </a:lnTo>
                <a:lnTo>
                  <a:pt x="309068" y="0"/>
                </a:lnTo>
                <a:lnTo>
                  <a:pt x="317767" y="0"/>
                </a:lnTo>
                <a:lnTo>
                  <a:pt x="321084" y="0"/>
                </a:lnTo>
                <a:lnTo>
                  <a:pt x="321361" y="0"/>
                </a:lnTo>
                <a:lnTo>
                  <a:pt x="324363" y="0"/>
                </a:lnTo>
                <a:lnTo>
                  <a:pt x="325732" y="0"/>
                </a:lnTo>
                <a:lnTo>
                  <a:pt x="327670" y="0"/>
                </a:lnTo>
                <a:lnTo>
                  <a:pt x="327680" y="0"/>
                </a:lnTo>
                <a:lnTo>
                  <a:pt x="338698" y="0"/>
                </a:lnTo>
                <a:lnTo>
                  <a:pt x="341028" y="0"/>
                </a:lnTo>
                <a:lnTo>
                  <a:pt x="344345" y="0"/>
                </a:lnTo>
                <a:lnTo>
                  <a:pt x="357311" y="0"/>
                </a:lnTo>
                <a:lnTo>
                  <a:pt x="361682" y="0"/>
                </a:lnTo>
                <a:lnTo>
                  <a:pt x="365291" y="0"/>
                </a:lnTo>
                <a:lnTo>
                  <a:pt x="365302" y="0"/>
                </a:lnTo>
                <a:lnTo>
                  <a:pt x="368609" y="0"/>
                </a:lnTo>
                <a:lnTo>
                  <a:pt x="371887" y="0"/>
                </a:lnTo>
                <a:lnTo>
                  <a:pt x="375205" y="0"/>
                </a:lnTo>
                <a:lnTo>
                  <a:pt x="381966" y="0"/>
                </a:lnTo>
                <a:lnTo>
                  <a:pt x="383903" y="0"/>
                </a:lnTo>
                <a:lnTo>
                  <a:pt x="388275" y="0"/>
                </a:lnTo>
                <a:lnTo>
                  <a:pt x="388551" y="0"/>
                </a:lnTo>
                <a:lnTo>
                  <a:pt x="388562" y="0"/>
                </a:lnTo>
                <a:lnTo>
                  <a:pt x="390501" y="0"/>
                </a:lnTo>
                <a:lnTo>
                  <a:pt x="391870" y="0"/>
                </a:lnTo>
                <a:lnTo>
                  <a:pt x="394872" y="0"/>
                </a:lnTo>
                <a:lnTo>
                  <a:pt x="404836" y="0"/>
                </a:lnTo>
                <a:lnTo>
                  <a:pt x="407164" y="0"/>
                </a:lnTo>
                <a:lnTo>
                  <a:pt x="409206" y="0"/>
                </a:lnTo>
                <a:lnTo>
                  <a:pt x="411536" y="0"/>
                </a:lnTo>
                <a:lnTo>
                  <a:pt x="412826" y="0"/>
                </a:lnTo>
                <a:lnTo>
                  <a:pt x="420720" y="0"/>
                </a:lnTo>
                <a:lnTo>
                  <a:pt x="420996" y="0"/>
                </a:lnTo>
                <a:lnTo>
                  <a:pt x="422935" y="0"/>
                </a:lnTo>
                <a:lnTo>
                  <a:pt x="422945" y="0"/>
                </a:lnTo>
                <a:lnTo>
                  <a:pt x="424503" y="0"/>
                </a:lnTo>
                <a:lnTo>
                  <a:pt x="427306" y="0"/>
                </a:lnTo>
                <a:lnTo>
                  <a:pt x="427317" y="0"/>
                </a:lnTo>
                <a:lnTo>
                  <a:pt x="427820" y="0"/>
                </a:lnTo>
                <a:lnTo>
                  <a:pt x="429490" y="0"/>
                </a:lnTo>
                <a:lnTo>
                  <a:pt x="431428" y="0"/>
                </a:lnTo>
                <a:lnTo>
                  <a:pt x="431438" y="0"/>
                </a:lnTo>
                <a:lnTo>
                  <a:pt x="435799" y="0"/>
                </a:lnTo>
                <a:lnTo>
                  <a:pt x="435810" y="0"/>
                </a:lnTo>
                <a:lnTo>
                  <a:pt x="436086" y="0"/>
                </a:lnTo>
                <a:lnTo>
                  <a:pt x="438026" y="0"/>
                </a:lnTo>
                <a:lnTo>
                  <a:pt x="439609" y="0"/>
                </a:lnTo>
                <a:lnTo>
                  <a:pt x="442396" y="0"/>
                </a:lnTo>
                <a:lnTo>
                  <a:pt x="443981" y="0"/>
                </a:lnTo>
                <a:lnTo>
                  <a:pt x="445918" y="0"/>
                </a:lnTo>
                <a:lnTo>
                  <a:pt x="448103" y="0"/>
                </a:lnTo>
                <a:lnTo>
                  <a:pt x="452475" y="0"/>
                </a:lnTo>
                <a:lnTo>
                  <a:pt x="454412" y="0"/>
                </a:lnTo>
                <a:lnTo>
                  <a:pt x="454689" y="0"/>
                </a:lnTo>
                <a:lnTo>
                  <a:pt x="454699" y="0"/>
                </a:lnTo>
                <a:lnTo>
                  <a:pt x="456947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09" y="0"/>
                </a:lnTo>
                <a:lnTo>
                  <a:pt x="463873" y="0"/>
                </a:lnTo>
                <a:lnTo>
                  <a:pt x="465440" y="0"/>
                </a:lnTo>
                <a:lnTo>
                  <a:pt x="468244" y="0"/>
                </a:lnTo>
                <a:lnTo>
                  <a:pt x="470470" y="0"/>
                </a:lnTo>
                <a:lnTo>
                  <a:pt x="472027" y="0"/>
                </a:lnTo>
                <a:lnTo>
                  <a:pt x="472038" y="0"/>
                </a:lnTo>
                <a:lnTo>
                  <a:pt x="474841" y="0"/>
                </a:lnTo>
                <a:lnTo>
                  <a:pt x="475345" y="0"/>
                </a:lnTo>
                <a:lnTo>
                  <a:pt x="477673" y="0"/>
                </a:lnTo>
                <a:lnTo>
                  <a:pt x="478963" y="0"/>
                </a:lnTo>
                <a:lnTo>
                  <a:pt x="483334" y="0"/>
                </a:lnTo>
                <a:lnTo>
                  <a:pt x="483540" y="0"/>
                </a:lnTo>
                <a:lnTo>
                  <a:pt x="486857" y="0"/>
                </a:lnTo>
                <a:lnTo>
                  <a:pt x="487134" y="0"/>
                </a:lnTo>
                <a:lnTo>
                  <a:pt x="488701" y="0"/>
                </a:lnTo>
                <a:lnTo>
                  <a:pt x="490136" y="0"/>
                </a:lnTo>
                <a:lnTo>
                  <a:pt x="490639" y="0"/>
                </a:lnTo>
                <a:lnTo>
                  <a:pt x="491505" y="0"/>
                </a:lnTo>
                <a:lnTo>
                  <a:pt x="493443" y="0"/>
                </a:lnTo>
                <a:lnTo>
                  <a:pt x="493453" y="0"/>
                </a:lnTo>
                <a:lnTo>
                  <a:pt x="495012" y="0"/>
                </a:lnTo>
                <a:lnTo>
                  <a:pt x="495628" y="0"/>
                </a:lnTo>
                <a:lnTo>
                  <a:pt x="498630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2224" y="0"/>
                </a:lnTo>
                <a:lnTo>
                  <a:pt x="504471" y="0"/>
                </a:lnTo>
                <a:lnTo>
                  <a:pt x="506595" y="0"/>
                </a:lnTo>
                <a:lnTo>
                  <a:pt x="506801" y="0"/>
                </a:lnTo>
                <a:lnTo>
                  <a:pt x="508534" y="0"/>
                </a:lnTo>
                <a:lnTo>
                  <a:pt x="510118" y="0"/>
                </a:lnTo>
                <a:lnTo>
                  <a:pt x="512964" y="0"/>
                </a:lnTo>
                <a:lnTo>
                  <a:pt x="515294" y="0"/>
                </a:lnTo>
                <a:lnTo>
                  <a:pt x="518611" y="0"/>
                </a:lnTo>
                <a:lnTo>
                  <a:pt x="519562" y="0"/>
                </a:lnTo>
                <a:lnTo>
                  <a:pt x="521890" y="0"/>
                </a:lnTo>
                <a:lnTo>
                  <a:pt x="523084" y="0"/>
                </a:lnTo>
                <a:lnTo>
                  <a:pt x="525198" y="0"/>
                </a:lnTo>
                <a:lnTo>
                  <a:pt x="525208" y="0"/>
                </a:lnTo>
                <a:lnTo>
                  <a:pt x="527455" y="0"/>
                </a:lnTo>
                <a:lnTo>
                  <a:pt x="531064" y="0"/>
                </a:lnTo>
                <a:lnTo>
                  <a:pt x="531075" y="0"/>
                </a:lnTo>
                <a:lnTo>
                  <a:pt x="531578" y="0"/>
                </a:lnTo>
                <a:lnTo>
                  <a:pt x="534382" y="0"/>
                </a:lnTo>
                <a:lnTo>
                  <a:pt x="535949" y="0"/>
                </a:lnTo>
                <a:lnTo>
                  <a:pt x="536226" y="0"/>
                </a:lnTo>
                <a:lnTo>
                  <a:pt x="537660" y="0"/>
                </a:lnTo>
                <a:lnTo>
                  <a:pt x="538165" y="0"/>
                </a:lnTo>
                <a:lnTo>
                  <a:pt x="538174" y="0"/>
                </a:lnTo>
                <a:lnTo>
                  <a:pt x="540978" y="0"/>
                </a:lnTo>
                <a:lnTo>
                  <a:pt x="542535" y="0"/>
                </a:lnTo>
                <a:lnTo>
                  <a:pt x="542546" y="0"/>
                </a:lnTo>
                <a:lnTo>
                  <a:pt x="546154" y="0"/>
                </a:lnTo>
                <a:lnTo>
                  <a:pt x="547739" y="0"/>
                </a:lnTo>
                <a:lnTo>
                  <a:pt x="549472" y="0"/>
                </a:lnTo>
                <a:lnTo>
                  <a:pt x="549676" y="0"/>
                </a:lnTo>
                <a:lnTo>
                  <a:pt x="554048" y="0"/>
                </a:lnTo>
                <a:lnTo>
                  <a:pt x="554324" y="0"/>
                </a:lnTo>
                <a:lnTo>
                  <a:pt x="554335" y="0"/>
                </a:lnTo>
                <a:lnTo>
                  <a:pt x="554839" y="0"/>
                </a:lnTo>
                <a:lnTo>
                  <a:pt x="556274" y="0"/>
                </a:lnTo>
                <a:lnTo>
                  <a:pt x="557643" y="0"/>
                </a:lnTo>
                <a:lnTo>
                  <a:pt x="559210" y="0"/>
                </a:lnTo>
                <a:lnTo>
                  <a:pt x="560645" y="0"/>
                </a:lnTo>
                <a:lnTo>
                  <a:pt x="561148" y="0"/>
                </a:lnTo>
                <a:lnTo>
                  <a:pt x="562818" y="0"/>
                </a:lnTo>
                <a:lnTo>
                  <a:pt x="562829" y="0"/>
                </a:lnTo>
                <a:lnTo>
                  <a:pt x="564768" y="0"/>
                </a:lnTo>
                <a:lnTo>
                  <a:pt x="566136" y="0"/>
                </a:lnTo>
                <a:lnTo>
                  <a:pt x="569138" y="0"/>
                </a:lnTo>
                <a:lnTo>
                  <a:pt x="569414" y="0"/>
                </a:lnTo>
                <a:lnTo>
                  <a:pt x="570609" y="0"/>
                </a:lnTo>
                <a:lnTo>
                  <a:pt x="572733" y="0"/>
                </a:lnTo>
                <a:lnTo>
                  <a:pt x="572937" y="0"/>
                </a:lnTo>
                <a:lnTo>
                  <a:pt x="574979" y="0"/>
                </a:lnTo>
                <a:lnTo>
                  <a:pt x="577309" y="0"/>
                </a:lnTo>
                <a:lnTo>
                  <a:pt x="578599" y="0"/>
                </a:lnTo>
                <a:lnTo>
                  <a:pt x="579103" y="0"/>
                </a:lnTo>
                <a:lnTo>
                  <a:pt x="581431" y="0"/>
                </a:lnTo>
                <a:lnTo>
                  <a:pt x="583473" y="0"/>
                </a:lnTo>
                <a:lnTo>
                  <a:pt x="585699" y="0"/>
                </a:lnTo>
                <a:lnTo>
                  <a:pt x="585803" y="0"/>
                </a:lnTo>
                <a:lnTo>
                  <a:pt x="588028" y="0"/>
                </a:lnTo>
                <a:lnTo>
                  <a:pt x="590070" y="0"/>
                </a:lnTo>
                <a:lnTo>
                  <a:pt x="590276" y="0"/>
                </a:lnTo>
                <a:lnTo>
                  <a:pt x="592399" y="0"/>
                </a:lnTo>
                <a:lnTo>
                  <a:pt x="593593" y="0"/>
                </a:lnTo>
                <a:lnTo>
                  <a:pt x="595263" y="0"/>
                </a:lnTo>
                <a:lnTo>
                  <a:pt x="597201" y="0"/>
                </a:lnTo>
                <a:lnTo>
                  <a:pt x="597211" y="0"/>
                </a:lnTo>
                <a:lnTo>
                  <a:pt x="598770" y="0"/>
                </a:lnTo>
                <a:lnTo>
                  <a:pt x="601572" y="0"/>
                </a:lnTo>
                <a:lnTo>
                  <a:pt x="601583" y="0"/>
                </a:lnTo>
                <a:lnTo>
                  <a:pt x="601859" y="0"/>
                </a:lnTo>
                <a:lnTo>
                  <a:pt x="602087" y="0"/>
                </a:lnTo>
                <a:lnTo>
                  <a:pt x="602364" y="0"/>
                </a:lnTo>
                <a:lnTo>
                  <a:pt x="603799" y="0"/>
                </a:lnTo>
                <a:lnTo>
                  <a:pt x="605366" y="0"/>
                </a:lnTo>
                <a:lnTo>
                  <a:pt x="606735" y="0"/>
                </a:lnTo>
                <a:lnTo>
                  <a:pt x="608169" y="0"/>
                </a:lnTo>
                <a:lnTo>
                  <a:pt x="608673" y="0"/>
                </a:lnTo>
                <a:lnTo>
                  <a:pt x="608683" y="0"/>
                </a:lnTo>
                <a:lnTo>
                  <a:pt x="610353" y="0"/>
                </a:lnTo>
                <a:lnTo>
                  <a:pt x="612293" y="0"/>
                </a:lnTo>
                <a:lnTo>
                  <a:pt x="613876" y="0"/>
                </a:lnTo>
                <a:lnTo>
                  <a:pt x="616662" y="0"/>
                </a:lnTo>
                <a:lnTo>
                  <a:pt x="618248" y="0"/>
                </a:lnTo>
                <a:lnTo>
                  <a:pt x="620185" y="0"/>
                </a:lnTo>
                <a:lnTo>
                  <a:pt x="620462" y="0"/>
                </a:lnTo>
                <a:lnTo>
                  <a:pt x="620472" y="0"/>
                </a:lnTo>
                <a:lnTo>
                  <a:pt x="622030" y="0"/>
                </a:lnTo>
                <a:lnTo>
                  <a:pt x="624833" y="0"/>
                </a:lnTo>
                <a:lnTo>
                  <a:pt x="624844" y="0"/>
                </a:lnTo>
                <a:lnTo>
                  <a:pt x="625347" y="0"/>
                </a:lnTo>
                <a:lnTo>
                  <a:pt x="626782" y="0"/>
                </a:lnTo>
                <a:lnTo>
                  <a:pt x="628956" y="0"/>
                </a:lnTo>
                <a:lnTo>
                  <a:pt x="628966" y="0"/>
                </a:lnTo>
                <a:lnTo>
                  <a:pt x="631213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5553" y="0"/>
                </a:lnTo>
                <a:lnTo>
                  <a:pt x="637800" y="0"/>
                </a:lnTo>
                <a:lnTo>
                  <a:pt x="637811" y="0"/>
                </a:lnTo>
                <a:lnTo>
                  <a:pt x="639923" y="0"/>
                </a:lnTo>
                <a:lnTo>
                  <a:pt x="641118" y="0"/>
                </a:lnTo>
                <a:lnTo>
                  <a:pt x="643446" y="0"/>
                </a:lnTo>
                <a:lnTo>
                  <a:pt x="644736" y="0"/>
                </a:lnTo>
                <a:lnTo>
                  <a:pt x="646293" y="0"/>
                </a:lnTo>
                <a:lnTo>
                  <a:pt x="646304" y="0"/>
                </a:lnTo>
                <a:lnTo>
                  <a:pt x="649107" y="0"/>
                </a:lnTo>
                <a:lnTo>
                  <a:pt x="649612" y="0"/>
                </a:lnTo>
                <a:lnTo>
                  <a:pt x="651940" y="0"/>
                </a:lnTo>
                <a:lnTo>
                  <a:pt x="652890" y="0"/>
                </a:lnTo>
                <a:lnTo>
                  <a:pt x="654474" y="0"/>
                </a:lnTo>
                <a:lnTo>
                  <a:pt x="656208" y="0"/>
                </a:lnTo>
                <a:lnTo>
                  <a:pt x="656412" y="0"/>
                </a:lnTo>
                <a:lnTo>
                  <a:pt x="658537" y="0"/>
                </a:lnTo>
                <a:lnTo>
                  <a:pt x="660785" y="0"/>
                </a:lnTo>
                <a:lnTo>
                  <a:pt x="661401" y="0"/>
                </a:lnTo>
                <a:lnTo>
                  <a:pt x="662968" y="0"/>
                </a:lnTo>
                <a:lnTo>
                  <a:pt x="664403" y="0"/>
                </a:lnTo>
                <a:lnTo>
                  <a:pt x="664906" y="0"/>
                </a:lnTo>
                <a:lnTo>
                  <a:pt x="665772" y="0"/>
                </a:lnTo>
                <a:lnTo>
                  <a:pt x="667710" y="0"/>
                </a:lnTo>
                <a:lnTo>
                  <a:pt x="667720" y="0"/>
                </a:lnTo>
                <a:lnTo>
                  <a:pt x="667997" y="0"/>
                </a:lnTo>
                <a:lnTo>
                  <a:pt x="669278" y="0"/>
                </a:lnTo>
                <a:lnTo>
                  <a:pt x="669554" y="0"/>
                </a:lnTo>
                <a:lnTo>
                  <a:pt x="669565" y="0"/>
                </a:lnTo>
                <a:lnTo>
                  <a:pt x="671502" y="0"/>
                </a:lnTo>
                <a:lnTo>
                  <a:pt x="672368" y="0"/>
                </a:lnTo>
                <a:lnTo>
                  <a:pt x="672872" y="0"/>
                </a:lnTo>
                <a:lnTo>
                  <a:pt x="674307" y="0"/>
                </a:lnTo>
                <a:lnTo>
                  <a:pt x="675874" y="0"/>
                </a:lnTo>
                <a:lnTo>
                  <a:pt x="676491" y="0"/>
                </a:lnTo>
                <a:lnTo>
                  <a:pt x="678737" y="0"/>
                </a:lnTo>
                <a:lnTo>
                  <a:pt x="680862" y="0"/>
                </a:lnTo>
                <a:lnTo>
                  <a:pt x="681067" y="0"/>
                </a:lnTo>
                <a:lnTo>
                  <a:pt x="682801" y="0"/>
                </a:lnTo>
                <a:lnTo>
                  <a:pt x="684384" y="0"/>
                </a:lnTo>
                <a:lnTo>
                  <a:pt x="685335" y="0"/>
                </a:lnTo>
                <a:lnTo>
                  <a:pt x="687663" y="0"/>
                </a:lnTo>
                <a:lnTo>
                  <a:pt x="688167" y="0"/>
                </a:lnTo>
                <a:lnTo>
                  <a:pt x="690971" y="0"/>
                </a:lnTo>
                <a:lnTo>
                  <a:pt x="690981" y="0"/>
                </a:lnTo>
                <a:lnTo>
                  <a:pt x="692539" y="0"/>
                </a:lnTo>
                <a:lnTo>
                  <a:pt x="693828" y="0"/>
                </a:lnTo>
                <a:lnTo>
                  <a:pt x="696157" y="0"/>
                </a:lnTo>
                <a:lnTo>
                  <a:pt x="697351" y="0"/>
                </a:lnTo>
                <a:lnTo>
                  <a:pt x="699465" y="0"/>
                </a:lnTo>
                <a:lnTo>
                  <a:pt x="699474" y="0"/>
                </a:lnTo>
                <a:lnTo>
                  <a:pt x="701722" y="0"/>
                </a:lnTo>
                <a:lnTo>
                  <a:pt x="701999" y="0"/>
                </a:lnTo>
                <a:lnTo>
                  <a:pt x="703938" y="0"/>
                </a:lnTo>
                <a:lnTo>
                  <a:pt x="703947" y="0"/>
                </a:lnTo>
                <a:lnTo>
                  <a:pt x="706062" y="0"/>
                </a:lnTo>
                <a:lnTo>
                  <a:pt x="708308" y="0"/>
                </a:lnTo>
                <a:lnTo>
                  <a:pt x="708319" y="0"/>
                </a:lnTo>
                <a:lnTo>
                  <a:pt x="710493" y="0"/>
                </a:lnTo>
                <a:lnTo>
                  <a:pt x="711927" y="0"/>
                </a:lnTo>
                <a:lnTo>
                  <a:pt x="712431" y="0"/>
                </a:lnTo>
                <a:lnTo>
                  <a:pt x="712441" y="0"/>
                </a:lnTo>
                <a:lnTo>
                  <a:pt x="715245" y="0"/>
                </a:lnTo>
                <a:lnTo>
                  <a:pt x="716802" y="0"/>
                </a:lnTo>
                <a:lnTo>
                  <a:pt x="716813" y="0"/>
                </a:lnTo>
                <a:lnTo>
                  <a:pt x="717089" y="0"/>
                </a:lnTo>
                <a:lnTo>
                  <a:pt x="719027" y="0"/>
                </a:lnTo>
                <a:lnTo>
                  <a:pt x="720612" y="0"/>
                </a:lnTo>
                <a:lnTo>
                  <a:pt x="723398" y="0"/>
                </a:lnTo>
                <a:lnTo>
                  <a:pt x="724983" y="0"/>
                </a:lnTo>
                <a:lnTo>
                  <a:pt x="726921" y="0"/>
                </a:lnTo>
                <a:lnTo>
                  <a:pt x="728591" y="0"/>
                </a:lnTo>
                <a:lnTo>
                  <a:pt x="728602" y="0"/>
                </a:lnTo>
                <a:lnTo>
                  <a:pt x="729106" y="0"/>
                </a:lnTo>
                <a:lnTo>
                  <a:pt x="730541" y="0"/>
                </a:lnTo>
                <a:lnTo>
                  <a:pt x="731909" y="0"/>
                </a:lnTo>
                <a:lnTo>
                  <a:pt x="733476" y="0"/>
                </a:lnTo>
                <a:lnTo>
                  <a:pt x="734911" y="0"/>
                </a:lnTo>
                <a:lnTo>
                  <a:pt x="735187" y="0"/>
                </a:lnTo>
                <a:lnTo>
                  <a:pt x="735415" y="0"/>
                </a:lnTo>
                <a:lnTo>
                  <a:pt x="735692" y="0"/>
                </a:lnTo>
                <a:lnTo>
                  <a:pt x="735702" y="0"/>
                </a:lnTo>
                <a:lnTo>
                  <a:pt x="738506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3681" y="0"/>
                </a:lnTo>
                <a:lnTo>
                  <a:pt x="744876" y="0"/>
                </a:lnTo>
                <a:lnTo>
                  <a:pt x="746999" y="0"/>
                </a:lnTo>
                <a:lnTo>
                  <a:pt x="747204" y="0"/>
                </a:lnTo>
                <a:lnTo>
                  <a:pt x="749246" y="0"/>
                </a:lnTo>
                <a:lnTo>
                  <a:pt x="751472" y="0"/>
                </a:lnTo>
                <a:lnTo>
                  <a:pt x="751576" y="0"/>
                </a:lnTo>
                <a:lnTo>
                  <a:pt x="753801" y="0"/>
                </a:lnTo>
                <a:lnTo>
                  <a:pt x="755843" y="0"/>
                </a:lnTo>
                <a:lnTo>
                  <a:pt x="758172" y="0"/>
                </a:lnTo>
                <a:lnTo>
                  <a:pt x="758676" y="0"/>
                </a:lnTo>
                <a:lnTo>
                  <a:pt x="759966" y="0"/>
                </a:lnTo>
                <a:lnTo>
                  <a:pt x="762295" y="0"/>
                </a:lnTo>
                <a:lnTo>
                  <a:pt x="764337" y="0"/>
                </a:lnTo>
                <a:lnTo>
                  <a:pt x="764543" y="0"/>
                </a:lnTo>
                <a:lnTo>
                  <a:pt x="766666" y="0"/>
                </a:lnTo>
                <a:lnTo>
                  <a:pt x="767860" y="0"/>
                </a:lnTo>
                <a:lnTo>
                  <a:pt x="768137" y="0"/>
                </a:lnTo>
                <a:lnTo>
                  <a:pt x="771139" y="0"/>
                </a:lnTo>
                <a:lnTo>
                  <a:pt x="772508" y="0"/>
                </a:lnTo>
                <a:lnTo>
                  <a:pt x="774446" y="0"/>
                </a:lnTo>
                <a:lnTo>
                  <a:pt x="774456" y="0"/>
                </a:lnTo>
                <a:lnTo>
                  <a:pt x="776126" y="0"/>
                </a:lnTo>
                <a:lnTo>
                  <a:pt x="776631" y="0"/>
                </a:lnTo>
                <a:lnTo>
                  <a:pt x="778066" y="0"/>
                </a:lnTo>
                <a:lnTo>
                  <a:pt x="779633" y="0"/>
                </a:lnTo>
                <a:lnTo>
                  <a:pt x="781001" y="0"/>
                </a:lnTo>
                <a:lnTo>
                  <a:pt x="782435" y="0"/>
                </a:lnTo>
                <a:lnTo>
                  <a:pt x="782940" y="0"/>
                </a:lnTo>
                <a:lnTo>
                  <a:pt x="782950" y="0"/>
                </a:lnTo>
                <a:lnTo>
                  <a:pt x="783227" y="0"/>
                </a:lnTo>
                <a:lnTo>
                  <a:pt x="787598" y="0"/>
                </a:lnTo>
                <a:lnTo>
                  <a:pt x="787803" y="0"/>
                </a:lnTo>
                <a:lnTo>
                  <a:pt x="789536" y="0"/>
                </a:lnTo>
                <a:lnTo>
                  <a:pt x="791120" y="0"/>
                </a:lnTo>
                <a:lnTo>
                  <a:pt x="794729" y="0"/>
                </a:lnTo>
                <a:lnTo>
                  <a:pt x="794739" y="0"/>
                </a:lnTo>
                <a:lnTo>
                  <a:pt x="796297" y="0"/>
                </a:lnTo>
                <a:lnTo>
                  <a:pt x="799100" y="0"/>
                </a:lnTo>
                <a:lnTo>
                  <a:pt x="799111" y="0"/>
                </a:lnTo>
                <a:lnTo>
                  <a:pt x="799614" y="0"/>
                </a:lnTo>
                <a:lnTo>
                  <a:pt x="801049" y="0"/>
                </a:lnTo>
                <a:lnTo>
                  <a:pt x="801326" y="0"/>
                </a:lnTo>
                <a:lnTo>
                  <a:pt x="802893" y="0"/>
                </a:lnTo>
                <a:lnTo>
                  <a:pt x="805696" y="0"/>
                </a:lnTo>
                <a:lnTo>
                  <a:pt x="806201" y="0"/>
                </a:lnTo>
                <a:lnTo>
                  <a:pt x="806210" y="0"/>
                </a:lnTo>
                <a:lnTo>
                  <a:pt x="809820" y="0"/>
                </a:lnTo>
                <a:lnTo>
                  <a:pt x="812066" y="0"/>
                </a:lnTo>
                <a:lnTo>
                  <a:pt x="812077" y="0"/>
                </a:lnTo>
                <a:lnTo>
                  <a:pt x="814190" y="0"/>
                </a:lnTo>
                <a:lnTo>
                  <a:pt x="815385" y="0"/>
                </a:lnTo>
                <a:lnTo>
                  <a:pt x="817713" y="0"/>
                </a:lnTo>
                <a:lnTo>
                  <a:pt x="818663" y="0"/>
                </a:lnTo>
                <a:lnTo>
                  <a:pt x="821981" y="0"/>
                </a:lnTo>
                <a:lnTo>
                  <a:pt x="824310" y="0"/>
                </a:lnTo>
                <a:lnTo>
                  <a:pt x="827156" y="0"/>
                </a:lnTo>
                <a:lnTo>
                  <a:pt x="828741" y="0"/>
                </a:lnTo>
                <a:lnTo>
                  <a:pt x="830475" y="0"/>
                </a:lnTo>
                <a:lnTo>
                  <a:pt x="830679" y="0"/>
                </a:lnTo>
                <a:lnTo>
                  <a:pt x="832804" y="0"/>
                </a:lnTo>
                <a:lnTo>
                  <a:pt x="835051" y="0"/>
                </a:lnTo>
                <a:lnTo>
                  <a:pt x="835327" y="0"/>
                </a:lnTo>
                <a:lnTo>
                  <a:pt x="835338" y="0"/>
                </a:lnTo>
                <a:lnTo>
                  <a:pt x="837275" y="0"/>
                </a:lnTo>
                <a:lnTo>
                  <a:pt x="838645" y="0"/>
                </a:lnTo>
                <a:lnTo>
                  <a:pt x="841647" y="0"/>
                </a:lnTo>
                <a:lnTo>
                  <a:pt x="842264" y="0"/>
                </a:lnTo>
                <a:lnTo>
                  <a:pt x="843821" y="0"/>
                </a:lnTo>
                <a:lnTo>
                  <a:pt x="843832" y="0"/>
                </a:lnTo>
                <a:lnTo>
                  <a:pt x="845769" y="0"/>
                </a:lnTo>
                <a:lnTo>
                  <a:pt x="846635" y="0"/>
                </a:lnTo>
                <a:lnTo>
                  <a:pt x="847139" y="0"/>
                </a:lnTo>
                <a:lnTo>
                  <a:pt x="848574" y="0"/>
                </a:lnTo>
                <a:lnTo>
                  <a:pt x="850141" y="0"/>
                </a:lnTo>
                <a:lnTo>
                  <a:pt x="850417" y="0"/>
                </a:lnTo>
                <a:lnTo>
                  <a:pt x="853735" y="0"/>
                </a:lnTo>
                <a:lnTo>
                  <a:pt x="853940" y="0"/>
                </a:lnTo>
                <a:lnTo>
                  <a:pt x="858312" y="0"/>
                </a:lnTo>
                <a:lnTo>
                  <a:pt x="859601" y="0"/>
                </a:lnTo>
                <a:lnTo>
                  <a:pt x="861930" y="0"/>
                </a:lnTo>
                <a:lnTo>
                  <a:pt x="862434" y="0"/>
                </a:lnTo>
                <a:lnTo>
                  <a:pt x="865238" y="0"/>
                </a:lnTo>
                <a:lnTo>
                  <a:pt x="865247" y="0"/>
                </a:lnTo>
                <a:lnTo>
                  <a:pt x="866806" y="0"/>
                </a:lnTo>
                <a:lnTo>
                  <a:pt x="869030" y="0"/>
                </a:lnTo>
                <a:lnTo>
                  <a:pt x="871835" y="0"/>
                </a:lnTo>
                <a:lnTo>
                  <a:pt x="873402" y="0"/>
                </a:lnTo>
                <a:lnTo>
                  <a:pt x="876266" y="0"/>
                </a:lnTo>
                <a:lnTo>
                  <a:pt x="878204" y="0"/>
                </a:lnTo>
                <a:lnTo>
                  <a:pt x="878214" y="0"/>
                </a:lnTo>
                <a:lnTo>
                  <a:pt x="880329" y="0"/>
                </a:lnTo>
                <a:lnTo>
                  <a:pt x="882575" y="0"/>
                </a:lnTo>
                <a:lnTo>
                  <a:pt x="882586" y="0"/>
                </a:lnTo>
                <a:lnTo>
                  <a:pt x="882862" y="0"/>
                </a:lnTo>
                <a:lnTo>
                  <a:pt x="884800" y="0"/>
                </a:lnTo>
                <a:lnTo>
                  <a:pt x="889171" y="0"/>
                </a:lnTo>
                <a:lnTo>
                  <a:pt x="891356" y="0"/>
                </a:lnTo>
                <a:lnTo>
                  <a:pt x="893294" y="0"/>
                </a:lnTo>
                <a:lnTo>
                  <a:pt x="894879" y="0"/>
                </a:lnTo>
                <a:lnTo>
                  <a:pt x="897665" y="0"/>
                </a:lnTo>
                <a:lnTo>
                  <a:pt x="899249" y="0"/>
                </a:lnTo>
                <a:lnTo>
                  <a:pt x="901188" y="0"/>
                </a:lnTo>
                <a:lnTo>
                  <a:pt x="901465" y="0"/>
                </a:lnTo>
                <a:lnTo>
                  <a:pt x="901475" y="0"/>
                </a:lnTo>
                <a:lnTo>
                  <a:pt x="905836" y="0"/>
                </a:lnTo>
                <a:lnTo>
                  <a:pt x="905847" y="0"/>
                </a:lnTo>
                <a:lnTo>
                  <a:pt x="907784" y="0"/>
                </a:lnTo>
                <a:lnTo>
                  <a:pt x="909454" y="0"/>
                </a:lnTo>
                <a:lnTo>
                  <a:pt x="909959" y="0"/>
                </a:lnTo>
                <a:lnTo>
                  <a:pt x="909968" y="0"/>
                </a:lnTo>
                <a:lnTo>
                  <a:pt x="912772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6555" y="0"/>
                </a:lnTo>
                <a:lnTo>
                  <a:pt x="924449" y="0"/>
                </a:lnTo>
                <a:lnTo>
                  <a:pt x="925739" y="0"/>
                </a:lnTo>
                <a:lnTo>
                  <a:pt x="928068" y="0"/>
                </a:lnTo>
                <a:lnTo>
                  <a:pt x="930110" y="0"/>
                </a:lnTo>
                <a:lnTo>
                  <a:pt x="932439" y="0"/>
                </a:lnTo>
                <a:lnTo>
                  <a:pt x="942404" y="0"/>
                </a:lnTo>
                <a:lnTo>
                  <a:pt x="945406" y="0"/>
                </a:lnTo>
                <a:lnTo>
                  <a:pt x="946774" y="0"/>
                </a:lnTo>
                <a:lnTo>
                  <a:pt x="948713" y="0"/>
                </a:lnTo>
                <a:lnTo>
                  <a:pt x="948723" y="0"/>
                </a:lnTo>
                <a:lnTo>
                  <a:pt x="949000" y="0"/>
                </a:lnTo>
                <a:lnTo>
                  <a:pt x="953371" y="0"/>
                </a:lnTo>
                <a:lnTo>
                  <a:pt x="955309" y="0"/>
                </a:lnTo>
                <a:lnTo>
                  <a:pt x="962070" y="0"/>
                </a:lnTo>
                <a:lnTo>
                  <a:pt x="965387" y="0"/>
                </a:lnTo>
                <a:lnTo>
                  <a:pt x="968666" y="0"/>
                </a:lnTo>
                <a:lnTo>
                  <a:pt x="971974" y="0"/>
                </a:lnTo>
                <a:lnTo>
                  <a:pt x="971983" y="0"/>
                </a:lnTo>
                <a:lnTo>
                  <a:pt x="975593" y="0"/>
                </a:lnTo>
                <a:lnTo>
                  <a:pt x="979963" y="0"/>
                </a:lnTo>
                <a:lnTo>
                  <a:pt x="992929" y="0"/>
                </a:lnTo>
                <a:lnTo>
                  <a:pt x="996248" y="0"/>
                </a:lnTo>
                <a:lnTo>
                  <a:pt x="998577" y="0"/>
                </a:lnTo>
                <a:lnTo>
                  <a:pt x="1009594" y="0"/>
                </a:lnTo>
                <a:lnTo>
                  <a:pt x="1009605" y="0"/>
                </a:lnTo>
                <a:lnTo>
                  <a:pt x="1011542" y="0"/>
                </a:lnTo>
                <a:lnTo>
                  <a:pt x="1012912" y="0"/>
                </a:lnTo>
                <a:lnTo>
                  <a:pt x="1015914" y="0"/>
                </a:lnTo>
                <a:lnTo>
                  <a:pt x="1016190" y="0"/>
                </a:lnTo>
                <a:lnTo>
                  <a:pt x="1019508" y="0"/>
                </a:lnTo>
                <a:lnTo>
                  <a:pt x="1028207" y="0"/>
                </a:lnTo>
                <a:lnTo>
                  <a:pt x="1032579" y="0"/>
                </a:lnTo>
                <a:lnTo>
                  <a:pt x="1034803" y="0"/>
                </a:lnTo>
                <a:lnTo>
                  <a:pt x="1039175" y="0"/>
                </a:lnTo>
                <a:lnTo>
                  <a:pt x="1046102" y="0"/>
                </a:lnTo>
                <a:lnTo>
                  <a:pt x="1057129" y="0"/>
                </a:lnTo>
                <a:lnTo>
                  <a:pt x="1059067" y="0"/>
                </a:lnTo>
                <a:lnTo>
                  <a:pt x="1063438" y="0"/>
                </a:lnTo>
                <a:lnTo>
                  <a:pt x="1075732" y="0"/>
                </a:lnTo>
                <a:lnTo>
                  <a:pt x="1075741" y="0"/>
                </a:lnTo>
                <a:lnTo>
                  <a:pt x="1080103" y="0"/>
                </a:lnTo>
                <a:lnTo>
                  <a:pt x="1080114" y="0"/>
                </a:lnTo>
                <a:lnTo>
                  <a:pt x="1082051" y="0"/>
                </a:lnTo>
                <a:lnTo>
                  <a:pt x="1082328" y="0"/>
                </a:lnTo>
                <a:cubicBezTo>
                  <a:pt x="1223131" y="0"/>
                  <a:pt x="1337274" y="114144"/>
                  <a:pt x="1337274" y="254947"/>
                </a:cubicBezTo>
                <a:lnTo>
                  <a:pt x="1337273" y="254947"/>
                </a:lnTo>
                <a:cubicBezTo>
                  <a:pt x="1337273" y="395750"/>
                  <a:pt x="1223130" y="509892"/>
                  <a:pt x="1082328" y="509892"/>
                </a:cubicBezTo>
                <a:lnTo>
                  <a:pt x="1080115" y="509892"/>
                </a:lnTo>
                <a:lnTo>
                  <a:pt x="1080112" y="509892"/>
                </a:lnTo>
                <a:lnTo>
                  <a:pt x="1080103" y="509892"/>
                </a:lnTo>
                <a:lnTo>
                  <a:pt x="1080102" y="509892"/>
                </a:lnTo>
                <a:lnTo>
                  <a:pt x="1075744" y="509892"/>
                </a:lnTo>
                <a:lnTo>
                  <a:pt x="1075740" y="509892"/>
                </a:lnTo>
                <a:lnTo>
                  <a:pt x="1075731" y="509892"/>
                </a:lnTo>
                <a:lnTo>
                  <a:pt x="1057129" y="509892"/>
                </a:lnTo>
                <a:lnTo>
                  <a:pt x="1057128" y="509892"/>
                </a:lnTo>
                <a:lnTo>
                  <a:pt x="1046101" y="509892"/>
                </a:lnTo>
                <a:lnTo>
                  <a:pt x="1039177" y="509892"/>
                </a:lnTo>
                <a:lnTo>
                  <a:pt x="1039174" y="509892"/>
                </a:lnTo>
                <a:lnTo>
                  <a:pt x="1034805" y="509892"/>
                </a:lnTo>
                <a:lnTo>
                  <a:pt x="1034803" y="509892"/>
                </a:lnTo>
                <a:lnTo>
                  <a:pt x="1032580" y="509892"/>
                </a:lnTo>
                <a:lnTo>
                  <a:pt x="1032578" y="509892"/>
                </a:lnTo>
                <a:lnTo>
                  <a:pt x="1028209" y="509892"/>
                </a:lnTo>
                <a:lnTo>
                  <a:pt x="1028206" y="509892"/>
                </a:lnTo>
                <a:lnTo>
                  <a:pt x="1019508" y="509892"/>
                </a:lnTo>
                <a:lnTo>
                  <a:pt x="1019507" y="509892"/>
                </a:lnTo>
                <a:lnTo>
                  <a:pt x="1016190" y="509892"/>
                </a:lnTo>
                <a:lnTo>
                  <a:pt x="1016189" y="509892"/>
                </a:lnTo>
                <a:lnTo>
                  <a:pt x="1012912" y="509892"/>
                </a:lnTo>
                <a:lnTo>
                  <a:pt x="1012911" y="509892"/>
                </a:lnTo>
                <a:lnTo>
                  <a:pt x="1009606" y="509892"/>
                </a:lnTo>
                <a:lnTo>
                  <a:pt x="1009604" y="509892"/>
                </a:lnTo>
                <a:lnTo>
                  <a:pt x="1009594" y="509892"/>
                </a:lnTo>
                <a:lnTo>
                  <a:pt x="1009593" y="509892"/>
                </a:lnTo>
                <a:lnTo>
                  <a:pt x="998578" y="509892"/>
                </a:lnTo>
                <a:lnTo>
                  <a:pt x="998576" y="509892"/>
                </a:lnTo>
                <a:lnTo>
                  <a:pt x="979963" y="509892"/>
                </a:lnTo>
                <a:lnTo>
                  <a:pt x="975592" y="509892"/>
                </a:lnTo>
                <a:lnTo>
                  <a:pt x="971986" y="509892"/>
                </a:lnTo>
                <a:lnTo>
                  <a:pt x="971982" y="509892"/>
                </a:lnTo>
                <a:lnTo>
                  <a:pt x="971973" y="509892"/>
                </a:lnTo>
                <a:lnTo>
                  <a:pt x="968668" y="509892"/>
                </a:lnTo>
                <a:lnTo>
                  <a:pt x="968665" y="509892"/>
                </a:lnTo>
                <a:lnTo>
                  <a:pt x="965388" y="509892"/>
                </a:lnTo>
                <a:lnTo>
                  <a:pt x="965386" y="509892"/>
                </a:lnTo>
                <a:lnTo>
                  <a:pt x="962071" y="509892"/>
                </a:lnTo>
                <a:lnTo>
                  <a:pt x="962069" y="509892"/>
                </a:lnTo>
                <a:lnTo>
                  <a:pt x="953371" y="509892"/>
                </a:lnTo>
                <a:lnTo>
                  <a:pt x="953370" y="509892"/>
                </a:lnTo>
                <a:lnTo>
                  <a:pt x="949000" y="509892"/>
                </a:lnTo>
                <a:lnTo>
                  <a:pt x="948999" y="509892"/>
                </a:lnTo>
                <a:lnTo>
                  <a:pt x="946774" y="509892"/>
                </a:lnTo>
                <a:lnTo>
                  <a:pt x="946773" y="509892"/>
                </a:lnTo>
                <a:lnTo>
                  <a:pt x="942404" y="509892"/>
                </a:lnTo>
                <a:lnTo>
                  <a:pt x="942402" y="509892"/>
                </a:lnTo>
                <a:lnTo>
                  <a:pt x="932441" y="509892"/>
                </a:lnTo>
                <a:lnTo>
                  <a:pt x="932439" y="509892"/>
                </a:lnTo>
                <a:lnTo>
                  <a:pt x="928069" y="509892"/>
                </a:lnTo>
                <a:lnTo>
                  <a:pt x="928067" y="509892"/>
                </a:lnTo>
                <a:lnTo>
                  <a:pt x="924451" y="509892"/>
                </a:lnTo>
                <a:lnTo>
                  <a:pt x="924448" y="509892"/>
                </a:lnTo>
                <a:lnTo>
                  <a:pt x="916555" y="509892"/>
                </a:lnTo>
                <a:lnTo>
                  <a:pt x="914342" y="509892"/>
                </a:lnTo>
                <a:lnTo>
                  <a:pt x="914339" y="509892"/>
                </a:lnTo>
                <a:lnTo>
                  <a:pt x="914330" y="509892"/>
                </a:lnTo>
                <a:lnTo>
                  <a:pt x="914329" y="509892"/>
                </a:lnTo>
                <a:lnTo>
                  <a:pt x="912772" y="509892"/>
                </a:lnTo>
                <a:lnTo>
                  <a:pt x="909971" y="509892"/>
                </a:lnTo>
                <a:lnTo>
                  <a:pt x="909967" y="509892"/>
                </a:lnTo>
                <a:lnTo>
                  <a:pt x="909958" y="509892"/>
                </a:lnTo>
                <a:lnTo>
                  <a:pt x="909454" y="509892"/>
                </a:lnTo>
                <a:lnTo>
                  <a:pt x="905848" y="509892"/>
                </a:lnTo>
                <a:lnTo>
                  <a:pt x="905846" y="509892"/>
                </a:lnTo>
                <a:lnTo>
                  <a:pt x="905836" y="509892"/>
                </a:lnTo>
                <a:lnTo>
                  <a:pt x="905835" y="509892"/>
                </a:lnTo>
                <a:lnTo>
                  <a:pt x="901477" y="509892"/>
                </a:lnTo>
                <a:lnTo>
                  <a:pt x="901474" y="509892"/>
                </a:lnTo>
                <a:lnTo>
                  <a:pt x="901464" y="509892"/>
                </a:lnTo>
                <a:lnTo>
                  <a:pt x="899251" y="509892"/>
                </a:lnTo>
                <a:lnTo>
                  <a:pt x="899249" y="509892"/>
                </a:lnTo>
                <a:lnTo>
                  <a:pt x="894880" y="509892"/>
                </a:lnTo>
                <a:lnTo>
                  <a:pt x="894877" y="509892"/>
                </a:lnTo>
                <a:lnTo>
                  <a:pt x="891356" y="509892"/>
                </a:lnTo>
                <a:lnTo>
                  <a:pt x="891355" y="509892"/>
                </a:lnTo>
                <a:lnTo>
                  <a:pt x="882862" y="509892"/>
                </a:lnTo>
                <a:lnTo>
                  <a:pt x="882861" y="509892"/>
                </a:lnTo>
                <a:lnTo>
                  <a:pt x="880328" y="509892"/>
                </a:lnTo>
                <a:lnTo>
                  <a:pt x="876266" y="509892"/>
                </a:lnTo>
                <a:lnTo>
                  <a:pt x="876265" y="509892"/>
                </a:lnTo>
                <a:lnTo>
                  <a:pt x="873404" y="509892"/>
                </a:lnTo>
                <a:lnTo>
                  <a:pt x="873401" y="509892"/>
                </a:lnTo>
                <a:lnTo>
                  <a:pt x="871834" y="509892"/>
                </a:lnTo>
                <a:lnTo>
                  <a:pt x="869032" y="509892"/>
                </a:lnTo>
                <a:lnTo>
                  <a:pt x="869030" y="509892"/>
                </a:lnTo>
                <a:lnTo>
                  <a:pt x="866807" y="509892"/>
                </a:lnTo>
                <a:lnTo>
                  <a:pt x="866805" y="509892"/>
                </a:lnTo>
                <a:lnTo>
                  <a:pt x="865250" y="509892"/>
                </a:lnTo>
                <a:lnTo>
                  <a:pt x="865247" y="509892"/>
                </a:lnTo>
                <a:lnTo>
                  <a:pt x="865237" y="509892"/>
                </a:lnTo>
                <a:lnTo>
                  <a:pt x="862436" y="509892"/>
                </a:lnTo>
                <a:lnTo>
                  <a:pt x="862433" y="509892"/>
                </a:lnTo>
                <a:lnTo>
                  <a:pt x="861932" y="509892"/>
                </a:lnTo>
                <a:lnTo>
                  <a:pt x="861930" y="509892"/>
                </a:lnTo>
                <a:lnTo>
                  <a:pt x="858313" y="509892"/>
                </a:lnTo>
                <a:lnTo>
                  <a:pt x="858311" y="509892"/>
                </a:lnTo>
                <a:lnTo>
                  <a:pt x="853942" y="509892"/>
                </a:lnTo>
                <a:lnTo>
                  <a:pt x="853939" y="509892"/>
                </a:lnTo>
                <a:lnTo>
                  <a:pt x="853735" y="509892"/>
                </a:lnTo>
                <a:lnTo>
                  <a:pt x="853734" y="509892"/>
                </a:lnTo>
                <a:lnTo>
                  <a:pt x="850417" y="509892"/>
                </a:lnTo>
                <a:lnTo>
                  <a:pt x="850416" y="509892"/>
                </a:lnTo>
                <a:lnTo>
                  <a:pt x="847139" y="509892"/>
                </a:lnTo>
                <a:lnTo>
                  <a:pt x="847138" y="509892"/>
                </a:lnTo>
                <a:lnTo>
                  <a:pt x="846635" y="509892"/>
                </a:lnTo>
                <a:lnTo>
                  <a:pt x="846634" y="509892"/>
                </a:lnTo>
                <a:lnTo>
                  <a:pt x="843833" y="509892"/>
                </a:lnTo>
                <a:lnTo>
                  <a:pt x="843831" y="509892"/>
                </a:lnTo>
                <a:lnTo>
                  <a:pt x="843821" y="509892"/>
                </a:lnTo>
                <a:lnTo>
                  <a:pt x="843820" y="509892"/>
                </a:lnTo>
                <a:lnTo>
                  <a:pt x="842264" y="509892"/>
                </a:lnTo>
                <a:lnTo>
                  <a:pt x="838645" y="509892"/>
                </a:lnTo>
                <a:lnTo>
                  <a:pt x="838644" y="509892"/>
                </a:lnTo>
                <a:lnTo>
                  <a:pt x="835339" y="509892"/>
                </a:lnTo>
                <a:lnTo>
                  <a:pt x="835337" y="509892"/>
                </a:lnTo>
                <a:lnTo>
                  <a:pt x="835327" y="509892"/>
                </a:lnTo>
                <a:lnTo>
                  <a:pt x="835326" y="509892"/>
                </a:lnTo>
                <a:lnTo>
                  <a:pt x="832805" y="509892"/>
                </a:lnTo>
                <a:lnTo>
                  <a:pt x="832803" y="509892"/>
                </a:lnTo>
                <a:lnTo>
                  <a:pt x="828742" y="509892"/>
                </a:lnTo>
                <a:lnTo>
                  <a:pt x="828741" y="509892"/>
                </a:lnTo>
                <a:lnTo>
                  <a:pt x="824311" y="509892"/>
                </a:lnTo>
                <a:lnTo>
                  <a:pt x="824309" y="509892"/>
                </a:lnTo>
                <a:lnTo>
                  <a:pt x="817715" y="509892"/>
                </a:lnTo>
                <a:lnTo>
                  <a:pt x="817712" y="509892"/>
                </a:lnTo>
                <a:lnTo>
                  <a:pt x="814190" y="509892"/>
                </a:lnTo>
                <a:lnTo>
                  <a:pt x="809819" y="509892"/>
                </a:lnTo>
                <a:lnTo>
                  <a:pt x="806213" y="509892"/>
                </a:lnTo>
                <a:lnTo>
                  <a:pt x="806209" y="509892"/>
                </a:lnTo>
                <a:lnTo>
                  <a:pt x="806200" y="509892"/>
                </a:lnTo>
                <a:lnTo>
                  <a:pt x="805696" y="509892"/>
                </a:lnTo>
                <a:lnTo>
                  <a:pt x="802895" y="509892"/>
                </a:lnTo>
                <a:lnTo>
                  <a:pt x="802892" y="509892"/>
                </a:lnTo>
                <a:lnTo>
                  <a:pt x="801325" y="509892"/>
                </a:lnTo>
                <a:lnTo>
                  <a:pt x="799615" y="509892"/>
                </a:lnTo>
                <a:lnTo>
                  <a:pt x="799613" y="509892"/>
                </a:lnTo>
                <a:lnTo>
                  <a:pt x="799112" y="509892"/>
                </a:lnTo>
                <a:lnTo>
                  <a:pt x="799110" y="509892"/>
                </a:lnTo>
                <a:lnTo>
                  <a:pt x="799100" y="509892"/>
                </a:lnTo>
                <a:lnTo>
                  <a:pt x="799099" y="509892"/>
                </a:lnTo>
                <a:lnTo>
                  <a:pt x="796298" y="509892"/>
                </a:lnTo>
                <a:lnTo>
                  <a:pt x="796296" y="509892"/>
                </a:lnTo>
                <a:lnTo>
                  <a:pt x="794741" y="509892"/>
                </a:lnTo>
                <a:lnTo>
                  <a:pt x="794739" y="509892"/>
                </a:lnTo>
                <a:lnTo>
                  <a:pt x="794728" y="509892"/>
                </a:lnTo>
                <a:lnTo>
                  <a:pt x="791122" y="509892"/>
                </a:lnTo>
                <a:lnTo>
                  <a:pt x="791119" y="509892"/>
                </a:lnTo>
                <a:lnTo>
                  <a:pt x="787804" y="509892"/>
                </a:lnTo>
                <a:lnTo>
                  <a:pt x="787802" y="509892"/>
                </a:lnTo>
                <a:lnTo>
                  <a:pt x="787598" y="509892"/>
                </a:lnTo>
                <a:lnTo>
                  <a:pt x="787597" y="509892"/>
                </a:lnTo>
                <a:lnTo>
                  <a:pt x="783227" y="509892"/>
                </a:lnTo>
                <a:lnTo>
                  <a:pt x="783226" y="509892"/>
                </a:lnTo>
                <a:lnTo>
                  <a:pt x="781001" y="509892"/>
                </a:lnTo>
                <a:lnTo>
                  <a:pt x="781000" y="509892"/>
                </a:lnTo>
                <a:lnTo>
                  <a:pt x="776631" y="509892"/>
                </a:lnTo>
                <a:lnTo>
                  <a:pt x="776629" y="509892"/>
                </a:lnTo>
                <a:lnTo>
                  <a:pt x="776126" y="509892"/>
                </a:lnTo>
                <a:lnTo>
                  <a:pt x="776125" y="509892"/>
                </a:lnTo>
                <a:lnTo>
                  <a:pt x="772508" y="509892"/>
                </a:lnTo>
                <a:lnTo>
                  <a:pt x="772507" y="509892"/>
                </a:lnTo>
                <a:lnTo>
                  <a:pt x="768137" y="509892"/>
                </a:lnTo>
                <a:lnTo>
                  <a:pt x="768136" y="509892"/>
                </a:lnTo>
                <a:lnTo>
                  <a:pt x="766668" y="509892"/>
                </a:lnTo>
                <a:lnTo>
                  <a:pt x="766666" y="509892"/>
                </a:lnTo>
                <a:lnTo>
                  <a:pt x="762296" y="509892"/>
                </a:lnTo>
                <a:lnTo>
                  <a:pt x="762294" y="509892"/>
                </a:lnTo>
                <a:lnTo>
                  <a:pt x="758678" y="509892"/>
                </a:lnTo>
                <a:lnTo>
                  <a:pt x="758675" y="509892"/>
                </a:lnTo>
                <a:lnTo>
                  <a:pt x="758174" y="509892"/>
                </a:lnTo>
                <a:lnTo>
                  <a:pt x="758172" y="509892"/>
                </a:lnTo>
                <a:lnTo>
                  <a:pt x="753802" y="509892"/>
                </a:lnTo>
                <a:lnTo>
                  <a:pt x="753800" y="509892"/>
                </a:lnTo>
                <a:lnTo>
                  <a:pt x="751578" y="509892"/>
                </a:lnTo>
                <a:lnTo>
                  <a:pt x="751575" y="509892"/>
                </a:lnTo>
                <a:lnTo>
                  <a:pt x="747206" y="509892"/>
                </a:lnTo>
                <a:lnTo>
                  <a:pt x="747203" y="509892"/>
                </a:lnTo>
                <a:lnTo>
                  <a:pt x="746999" y="509892"/>
                </a:lnTo>
                <a:lnTo>
                  <a:pt x="743681" y="509892"/>
                </a:lnTo>
                <a:lnTo>
                  <a:pt x="740075" y="509892"/>
                </a:lnTo>
                <a:lnTo>
                  <a:pt x="740073" y="509892"/>
                </a:lnTo>
                <a:lnTo>
                  <a:pt x="740063" y="509892"/>
                </a:lnTo>
                <a:lnTo>
                  <a:pt x="740062" y="509892"/>
                </a:lnTo>
                <a:lnTo>
                  <a:pt x="738506" y="509892"/>
                </a:lnTo>
                <a:lnTo>
                  <a:pt x="735704" y="509892"/>
                </a:lnTo>
                <a:lnTo>
                  <a:pt x="735701" y="509892"/>
                </a:lnTo>
                <a:lnTo>
                  <a:pt x="735691" y="509892"/>
                </a:lnTo>
                <a:lnTo>
                  <a:pt x="735187" y="509892"/>
                </a:lnTo>
                <a:lnTo>
                  <a:pt x="733478" y="509892"/>
                </a:lnTo>
                <a:lnTo>
                  <a:pt x="733476" y="509892"/>
                </a:lnTo>
                <a:lnTo>
                  <a:pt x="731909" y="509892"/>
                </a:lnTo>
                <a:lnTo>
                  <a:pt x="731908" y="509892"/>
                </a:lnTo>
                <a:lnTo>
                  <a:pt x="729107" y="509892"/>
                </a:lnTo>
                <a:lnTo>
                  <a:pt x="729104" y="509892"/>
                </a:lnTo>
                <a:lnTo>
                  <a:pt x="728603" y="509892"/>
                </a:lnTo>
                <a:lnTo>
                  <a:pt x="728601" y="509892"/>
                </a:lnTo>
                <a:lnTo>
                  <a:pt x="728591" y="509892"/>
                </a:lnTo>
                <a:lnTo>
                  <a:pt x="728590" y="509892"/>
                </a:lnTo>
                <a:lnTo>
                  <a:pt x="724984" y="509892"/>
                </a:lnTo>
                <a:lnTo>
                  <a:pt x="724983" y="509892"/>
                </a:lnTo>
                <a:lnTo>
                  <a:pt x="720613" y="509892"/>
                </a:lnTo>
                <a:lnTo>
                  <a:pt x="720611" y="509892"/>
                </a:lnTo>
                <a:lnTo>
                  <a:pt x="717089" y="509892"/>
                </a:lnTo>
                <a:lnTo>
                  <a:pt x="717088" y="509892"/>
                </a:lnTo>
                <a:lnTo>
                  <a:pt x="710493" y="509892"/>
                </a:lnTo>
                <a:lnTo>
                  <a:pt x="710492" y="509892"/>
                </a:lnTo>
                <a:lnTo>
                  <a:pt x="706061" y="509892"/>
                </a:lnTo>
                <a:lnTo>
                  <a:pt x="701999" y="509892"/>
                </a:lnTo>
                <a:lnTo>
                  <a:pt x="701998" y="509892"/>
                </a:lnTo>
                <a:lnTo>
                  <a:pt x="699477" y="509892"/>
                </a:lnTo>
                <a:lnTo>
                  <a:pt x="699474" y="509892"/>
                </a:lnTo>
                <a:lnTo>
                  <a:pt x="699464" y="509892"/>
                </a:lnTo>
                <a:lnTo>
                  <a:pt x="696159" y="509892"/>
                </a:lnTo>
                <a:lnTo>
                  <a:pt x="696157" y="509892"/>
                </a:lnTo>
                <a:lnTo>
                  <a:pt x="692540" y="509892"/>
                </a:lnTo>
                <a:lnTo>
                  <a:pt x="692538" y="509892"/>
                </a:lnTo>
                <a:lnTo>
                  <a:pt x="690983" y="509892"/>
                </a:lnTo>
                <a:lnTo>
                  <a:pt x="690981" y="509892"/>
                </a:lnTo>
                <a:lnTo>
                  <a:pt x="690970" y="509892"/>
                </a:lnTo>
                <a:lnTo>
                  <a:pt x="688169" y="509892"/>
                </a:lnTo>
                <a:lnTo>
                  <a:pt x="688166" y="509892"/>
                </a:lnTo>
                <a:lnTo>
                  <a:pt x="687666" y="509892"/>
                </a:lnTo>
                <a:lnTo>
                  <a:pt x="687663" y="509892"/>
                </a:lnTo>
                <a:lnTo>
                  <a:pt x="684387" y="509892"/>
                </a:lnTo>
                <a:lnTo>
                  <a:pt x="684383" y="509892"/>
                </a:lnTo>
                <a:lnTo>
                  <a:pt x="681069" y="509892"/>
                </a:lnTo>
                <a:lnTo>
                  <a:pt x="681066" y="509892"/>
                </a:lnTo>
                <a:lnTo>
                  <a:pt x="680862" y="509892"/>
                </a:lnTo>
                <a:lnTo>
                  <a:pt x="680861" y="509892"/>
                </a:lnTo>
                <a:lnTo>
                  <a:pt x="676491" y="509892"/>
                </a:lnTo>
                <a:lnTo>
                  <a:pt x="672872" y="509892"/>
                </a:lnTo>
                <a:lnTo>
                  <a:pt x="672871" y="509892"/>
                </a:lnTo>
                <a:lnTo>
                  <a:pt x="672368" y="509892"/>
                </a:lnTo>
                <a:lnTo>
                  <a:pt x="672367" y="509892"/>
                </a:lnTo>
                <a:lnTo>
                  <a:pt x="669566" y="509892"/>
                </a:lnTo>
                <a:lnTo>
                  <a:pt x="669564" y="509892"/>
                </a:lnTo>
                <a:lnTo>
                  <a:pt x="669554" y="509892"/>
                </a:lnTo>
                <a:lnTo>
                  <a:pt x="669553" y="509892"/>
                </a:lnTo>
                <a:lnTo>
                  <a:pt x="667997" y="509892"/>
                </a:lnTo>
                <a:lnTo>
                  <a:pt x="665772" y="509892"/>
                </a:lnTo>
                <a:lnTo>
                  <a:pt x="665771" y="509892"/>
                </a:lnTo>
                <a:lnTo>
                  <a:pt x="662969" y="509892"/>
                </a:lnTo>
                <a:lnTo>
                  <a:pt x="662968" y="509892"/>
                </a:lnTo>
                <a:lnTo>
                  <a:pt x="661401" y="509892"/>
                </a:lnTo>
                <a:lnTo>
                  <a:pt x="661400" y="509892"/>
                </a:lnTo>
                <a:lnTo>
                  <a:pt x="658538" y="509892"/>
                </a:lnTo>
                <a:lnTo>
                  <a:pt x="658536" y="509892"/>
                </a:lnTo>
                <a:lnTo>
                  <a:pt x="654475" y="509892"/>
                </a:lnTo>
                <a:lnTo>
                  <a:pt x="654474" y="509892"/>
                </a:lnTo>
                <a:lnTo>
                  <a:pt x="651942" y="509892"/>
                </a:lnTo>
                <a:lnTo>
                  <a:pt x="651939" y="509892"/>
                </a:lnTo>
                <a:lnTo>
                  <a:pt x="643448" y="509892"/>
                </a:lnTo>
                <a:lnTo>
                  <a:pt x="643445" y="509892"/>
                </a:lnTo>
                <a:lnTo>
                  <a:pt x="639923" y="509892"/>
                </a:lnTo>
                <a:lnTo>
                  <a:pt x="635552" y="509892"/>
                </a:lnTo>
                <a:lnTo>
                  <a:pt x="633339" y="509892"/>
                </a:lnTo>
                <a:lnTo>
                  <a:pt x="633337" y="509892"/>
                </a:lnTo>
                <a:lnTo>
                  <a:pt x="633327" y="509892"/>
                </a:lnTo>
                <a:lnTo>
                  <a:pt x="633326" y="509892"/>
                </a:lnTo>
                <a:lnTo>
                  <a:pt x="628968" y="509892"/>
                </a:lnTo>
                <a:lnTo>
                  <a:pt x="628966" y="509892"/>
                </a:lnTo>
                <a:lnTo>
                  <a:pt x="628955" y="509892"/>
                </a:lnTo>
                <a:lnTo>
                  <a:pt x="625349" y="509892"/>
                </a:lnTo>
                <a:lnTo>
                  <a:pt x="625346" y="509892"/>
                </a:lnTo>
                <a:lnTo>
                  <a:pt x="624845" y="509892"/>
                </a:lnTo>
                <a:lnTo>
                  <a:pt x="624843" y="509892"/>
                </a:lnTo>
                <a:lnTo>
                  <a:pt x="624833" y="509892"/>
                </a:lnTo>
                <a:lnTo>
                  <a:pt x="624832" y="509892"/>
                </a:lnTo>
                <a:lnTo>
                  <a:pt x="622031" y="509892"/>
                </a:lnTo>
                <a:lnTo>
                  <a:pt x="622029" y="509892"/>
                </a:lnTo>
                <a:lnTo>
                  <a:pt x="620474" y="509892"/>
                </a:lnTo>
                <a:lnTo>
                  <a:pt x="620472" y="509892"/>
                </a:lnTo>
                <a:lnTo>
                  <a:pt x="620461" y="509892"/>
                </a:lnTo>
                <a:lnTo>
                  <a:pt x="618249" y="509892"/>
                </a:lnTo>
                <a:lnTo>
                  <a:pt x="618247" y="509892"/>
                </a:lnTo>
                <a:lnTo>
                  <a:pt x="610353" y="509892"/>
                </a:lnTo>
                <a:lnTo>
                  <a:pt x="610352" y="509892"/>
                </a:lnTo>
                <a:lnTo>
                  <a:pt x="606735" y="509892"/>
                </a:lnTo>
                <a:lnTo>
                  <a:pt x="606734" y="509892"/>
                </a:lnTo>
                <a:lnTo>
                  <a:pt x="602364" y="509892"/>
                </a:lnTo>
                <a:lnTo>
                  <a:pt x="602363" y="509892"/>
                </a:lnTo>
                <a:lnTo>
                  <a:pt x="592401" y="509892"/>
                </a:lnTo>
                <a:lnTo>
                  <a:pt x="592399" y="509892"/>
                </a:lnTo>
                <a:lnTo>
                  <a:pt x="588029" y="509892"/>
                </a:lnTo>
                <a:lnTo>
                  <a:pt x="588027" y="509892"/>
                </a:lnTo>
                <a:lnTo>
                  <a:pt x="585805" y="509892"/>
                </a:lnTo>
                <a:lnTo>
                  <a:pt x="585802" y="509892"/>
                </a:lnTo>
                <a:lnTo>
                  <a:pt x="581433" y="509892"/>
                </a:lnTo>
                <a:lnTo>
                  <a:pt x="581430" y="509892"/>
                </a:lnTo>
                <a:lnTo>
                  <a:pt x="572733" y="509892"/>
                </a:lnTo>
                <a:lnTo>
                  <a:pt x="569414" y="509892"/>
                </a:lnTo>
                <a:lnTo>
                  <a:pt x="566136" y="509892"/>
                </a:lnTo>
                <a:lnTo>
                  <a:pt x="566135" y="509892"/>
                </a:lnTo>
                <a:lnTo>
                  <a:pt x="562830" y="509892"/>
                </a:lnTo>
                <a:lnTo>
                  <a:pt x="562828" y="509892"/>
                </a:lnTo>
                <a:lnTo>
                  <a:pt x="562818" y="509892"/>
                </a:lnTo>
                <a:lnTo>
                  <a:pt x="562817" y="509892"/>
                </a:lnTo>
                <a:lnTo>
                  <a:pt x="559211" y="509892"/>
                </a:lnTo>
                <a:lnTo>
                  <a:pt x="559210" y="509892"/>
                </a:lnTo>
                <a:lnTo>
                  <a:pt x="554840" y="509892"/>
                </a:lnTo>
                <a:lnTo>
                  <a:pt x="554838" y="509892"/>
                </a:lnTo>
                <a:lnTo>
                  <a:pt x="536226" y="509892"/>
                </a:lnTo>
                <a:lnTo>
                  <a:pt x="536225" y="509892"/>
                </a:lnTo>
                <a:lnTo>
                  <a:pt x="525210" y="509892"/>
                </a:lnTo>
                <a:lnTo>
                  <a:pt x="525208" y="509892"/>
                </a:lnTo>
                <a:lnTo>
                  <a:pt x="525197" y="509892"/>
                </a:lnTo>
                <a:lnTo>
                  <a:pt x="521893" y="509892"/>
                </a:lnTo>
                <a:lnTo>
                  <a:pt x="521890" y="509892"/>
                </a:lnTo>
                <a:lnTo>
                  <a:pt x="518614" y="509892"/>
                </a:lnTo>
                <a:lnTo>
                  <a:pt x="518610" y="509892"/>
                </a:lnTo>
                <a:lnTo>
                  <a:pt x="515296" y="509892"/>
                </a:lnTo>
                <a:lnTo>
                  <a:pt x="515293" y="509892"/>
                </a:lnTo>
                <a:lnTo>
                  <a:pt x="506595" y="509892"/>
                </a:lnTo>
                <a:lnTo>
                  <a:pt x="506594" y="509892"/>
                </a:lnTo>
                <a:lnTo>
                  <a:pt x="502224" y="509892"/>
                </a:lnTo>
                <a:lnTo>
                  <a:pt x="499999" y="509892"/>
                </a:lnTo>
                <a:lnTo>
                  <a:pt x="499998" y="509892"/>
                </a:lnTo>
                <a:lnTo>
                  <a:pt x="495628" y="509892"/>
                </a:lnTo>
                <a:lnTo>
                  <a:pt x="495627" y="509892"/>
                </a:lnTo>
                <a:lnTo>
                  <a:pt x="488702" y="509892"/>
                </a:lnTo>
                <a:lnTo>
                  <a:pt x="488701" y="509892"/>
                </a:lnTo>
                <a:lnTo>
                  <a:pt x="477675" y="509892"/>
                </a:lnTo>
                <a:lnTo>
                  <a:pt x="477672" y="509892"/>
                </a:lnTo>
                <a:lnTo>
                  <a:pt x="459072" y="509892"/>
                </a:lnTo>
                <a:lnTo>
                  <a:pt x="459070" y="509892"/>
                </a:lnTo>
                <a:lnTo>
                  <a:pt x="459060" y="509892"/>
                </a:lnTo>
                <a:lnTo>
                  <a:pt x="459059" y="509892"/>
                </a:lnTo>
                <a:lnTo>
                  <a:pt x="454701" y="509892"/>
                </a:lnTo>
                <a:lnTo>
                  <a:pt x="454699" y="509892"/>
                </a:lnTo>
                <a:lnTo>
                  <a:pt x="454688" y="509892"/>
                </a:lnTo>
                <a:lnTo>
                  <a:pt x="452476" y="509892"/>
                </a:lnTo>
                <a:lnTo>
                  <a:pt x="452474" y="509892"/>
                </a:lnTo>
                <a:lnTo>
                  <a:pt x="254947" y="509891"/>
                </a:lnTo>
                <a:cubicBezTo>
                  <a:pt x="131743" y="509891"/>
                  <a:pt x="28953" y="422501"/>
                  <a:pt x="5179" y="306326"/>
                </a:cubicBezTo>
                <a:lnTo>
                  <a:pt x="0" y="254947"/>
                </a:lnTo>
                <a:lnTo>
                  <a:pt x="5179" y="203566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noFill/>
          <a:ln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49" name="Полилиния 48"/>
          <p:cNvSpPr/>
          <p:nvPr/>
        </p:nvSpPr>
        <p:spPr>
          <a:xfrm>
            <a:off x="752510" y="3538547"/>
            <a:ext cx="916207" cy="439609"/>
          </a:xfrm>
          <a:custGeom>
            <a:avLst/>
            <a:gdLst>
              <a:gd name="connsiteX0" fmla="*/ 254947 w 1126698"/>
              <a:gd name="connsiteY0" fmla="*/ 0 h 509893"/>
              <a:gd name="connsiteX1" fmla="*/ 259893 w 1126698"/>
              <a:gd name="connsiteY1" fmla="*/ 0 h 509893"/>
              <a:gd name="connsiteX2" fmla="*/ 261533 w 1126698"/>
              <a:gd name="connsiteY2" fmla="*/ 0 h 509893"/>
              <a:gd name="connsiteX3" fmla="*/ 261544 w 1126698"/>
              <a:gd name="connsiteY3" fmla="*/ 0 h 509893"/>
              <a:gd name="connsiteX4" fmla="*/ 272964 w 1126698"/>
              <a:gd name="connsiteY4" fmla="*/ 0 h 509893"/>
              <a:gd name="connsiteX5" fmla="*/ 276558 w 1126698"/>
              <a:gd name="connsiteY5" fmla="*/ 0 h 509893"/>
              <a:gd name="connsiteX6" fmla="*/ 278208 w 1126698"/>
              <a:gd name="connsiteY6" fmla="*/ 0 h 509893"/>
              <a:gd name="connsiteX7" fmla="*/ 279560 w 1126698"/>
              <a:gd name="connsiteY7" fmla="*/ 0 h 509893"/>
              <a:gd name="connsiteX8" fmla="*/ 280145 w 1126698"/>
              <a:gd name="connsiteY8" fmla="*/ 0 h 509893"/>
              <a:gd name="connsiteX9" fmla="*/ 293894 w 1126698"/>
              <a:gd name="connsiteY9" fmla="*/ 0 h 509893"/>
              <a:gd name="connsiteX10" fmla="*/ 296224 w 1126698"/>
              <a:gd name="connsiteY10" fmla="*/ 0 h 509893"/>
              <a:gd name="connsiteX11" fmla="*/ 302471 w 1126698"/>
              <a:gd name="connsiteY11" fmla="*/ 0 h 509893"/>
              <a:gd name="connsiteX12" fmla="*/ 309068 w 1126698"/>
              <a:gd name="connsiteY12" fmla="*/ 0 h 509893"/>
              <a:gd name="connsiteX13" fmla="*/ 312508 w 1126698"/>
              <a:gd name="connsiteY13" fmla="*/ 0 h 509893"/>
              <a:gd name="connsiteX14" fmla="*/ 320488 w 1126698"/>
              <a:gd name="connsiteY14" fmla="*/ 0 h 509893"/>
              <a:gd name="connsiteX15" fmla="*/ 320498 w 1126698"/>
              <a:gd name="connsiteY15" fmla="*/ 0 h 509893"/>
              <a:gd name="connsiteX16" fmla="*/ 321084 w 1126698"/>
              <a:gd name="connsiteY16" fmla="*/ 0 h 509893"/>
              <a:gd name="connsiteX17" fmla="*/ 325732 w 1126698"/>
              <a:gd name="connsiteY17" fmla="*/ 0 h 509893"/>
              <a:gd name="connsiteX18" fmla="*/ 327084 w 1126698"/>
              <a:gd name="connsiteY18" fmla="*/ 0 h 509893"/>
              <a:gd name="connsiteX19" fmla="*/ 327671 w 1126698"/>
              <a:gd name="connsiteY19" fmla="*/ 0 h 509893"/>
              <a:gd name="connsiteX20" fmla="*/ 327680 w 1126698"/>
              <a:gd name="connsiteY20" fmla="*/ 0 h 509893"/>
              <a:gd name="connsiteX21" fmla="*/ 337163 w 1126698"/>
              <a:gd name="connsiteY21" fmla="*/ 0 h 509893"/>
              <a:gd name="connsiteX22" fmla="*/ 339100 w 1126698"/>
              <a:gd name="connsiteY22" fmla="*/ 0 h 509893"/>
              <a:gd name="connsiteX23" fmla="*/ 343748 w 1126698"/>
              <a:gd name="connsiteY23" fmla="*/ 0 h 509893"/>
              <a:gd name="connsiteX24" fmla="*/ 343759 w 1126698"/>
              <a:gd name="connsiteY24" fmla="*/ 0 h 509893"/>
              <a:gd name="connsiteX25" fmla="*/ 344345 w 1126698"/>
              <a:gd name="connsiteY25" fmla="*/ 0 h 509893"/>
              <a:gd name="connsiteX26" fmla="*/ 345698 w 1126698"/>
              <a:gd name="connsiteY26" fmla="*/ 0 h 509893"/>
              <a:gd name="connsiteX27" fmla="*/ 360033 w 1126698"/>
              <a:gd name="connsiteY27" fmla="*/ 0 h 509893"/>
              <a:gd name="connsiteX28" fmla="*/ 361682 w 1126698"/>
              <a:gd name="connsiteY28" fmla="*/ 0 h 509893"/>
              <a:gd name="connsiteX29" fmla="*/ 362361 w 1126698"/>
              <a:gd name="connsiteY29" fmla="*/ 0 h 509893"/>
              <a:gd name="connsiteX30" fmla="*/ 368022 w 1126698"/>
              <a:gd name="connsiteY30" fmla="*/ 0 h 509893"/>
              <a:gd name="connsiteX31" fmla="*/ 368609 w 1126698"/>
              <a:gd name="connsiteY31" fmla="*/ 0 h 509893"/>
              <a:gd name="connsiteX32" fmla="*/ 375205 w 1126698"/>
              <a:gd name="connsiteY32" fmla="*/ 0 h 509893"/>
              <a:gd name="connsiteX33" fmla="*/ 379700 w 1126698"/>
              <a:gd name="connsiteY33" fmla="*/ 0 h 509893"/>
              <a:gd name="connsiteX34" fmla="*/ 384687 w 1126698"/>
              <a:gd name="connsiteY34" fmla="*/ 0 h 509893"/>
              <a:gd name="connsiteX35" fmla="*/ 386625 w 1126698"/>
              <a:gd name="connsiteY35" fmla="*/ 0 h 509893"/>
              <a:gd name="connsiteX36" fmla="*/ 386635 w 1126698"/>
              <a:gd name="connsiteY36" fmla="*/ 0 h 509893"/>
              <a:gd name="connsiteX37" fmla="*/ 388276 w 1126698"/>
              <a:gd name="connsiteY37" fmla="*/ 0 h 509893"/>
              <a:gd name="connsiteX38" fmla="*/ 391283 w 1126698"/>
              <a:gd name="connsiteY38" fmla="*/ 0 h 509893"/>
              <a:gd name="connsiteX39" fmla="*/ 391870 w 1126698"/>
              <a:gd name="connsiteY39" fmla="*/ 0 h 509893"/>
              <a:gd name="connsiteX40" fmla="*/ 393223 w 1126698"/>
              <a:gd name="connsiteY40" fmla="*/ 0 h 509893"/>
              <a:gd name="connsiteX41" fmla="*/ 394872 w 1126698"/>
              <a:gd name="connsiteY41" fmla="*/ 0 h 509893"/>
              <a:gd name="connsiteX42" fmla="*/ 403300 w 1126698"/>
              <a:gd name="connsiteY42" fmla="*/ 0 h 509893"/>
              <a:gd name="connsiteX43" fmla="*/ 409206 w 1126698"/>
              <a:gd name="connsiteY43" fmla="*/ 0 h 509893"/>
              <a:gd name="connsiteX44" fmla="*/ 409886 w 1126698"/>
              <a:gd name="connsiteY44" fmla="*/ 0 h 509893"/>
              <a:gd name="connsiteX45" fmla="*/ 409896 w 1126698"/>
              <a:gd name="connsiteY45" fmla="*/ 0 h 509893"/>
              <a:gd name="connsiteX46" fmla="*/ 411536 w 1126698"/>
              <a:gd name="connsiteY46" fmla="*/ 0 h 509893"/>
              <a:gd name="connsiteX47" fmla="*/ 420637 w 1126698"/>
              <a:gd name="connsiteY47" fmla="*/ 0 h 509893"/>
              <a:gd name="connsiteX48" fmla="*/ 427224 w 1126698"/>
              <a:gd name="connsiteY48" fmla="*/ 0 h 509893"/>
              <a:gd name="connsiteX49" fmla="*/ 427234 w 1126698"/>
              <a:gd name="connsiteY49" fmla="*/ 0 h 509893"/>
              <a:gd name="connsiteX50" fmla="*/ 427820 w 1126698"/>
              <a:gd name="connsiteY50" fmla="*/ 0 h 509893"/>
              <a:gd name="connsiteX51" fmla="*/ 434160 w 1126698"/>
              <a:gd name="connsiteY51" fmla="*/ 0 h 509893"/>
              <a:gd name="connsiteX52" fmla="*/ 435800 w 1126698"/>
              <a:gd name="connsiteY52" fmla="*/ 0 h 509893"/>
              <a:gd name="connsiteX53" fmla="*/ 435810 w 1126698"/>
              <a:gd name="connsiteY53" fmla="*/ 0 h 509893"/>
              <a:gd name="connsiteX54" fmla="*/ 442396 w 1126698"/>
              <a:gd name="connsiteY54" fmla="*/ 0 h 509893"/>
              <a:gd name="connsiteX55" fmla="*/ 443898 w 1126698"/>
              <a:gd name="connsiteY55" fmla="*/ 0 h 509893"/>
              <a:gd name="connsiteX56" fmla="*/ 445836 w 1126698"/>
              <a:gd name="connsiteY56" fmla="*/ 0 h 509893"/>
              <a:gd name="connsiteX57" fmla="*/ 450825 w 1126698"/>
              <a:gd name="connsiteY57" fmla="*/ 0 h 509893"/>
              <a:gd name="connsiteX58" fmla="*/ 452475 w 1126698"/>
              <a:gd name="connsiteY58" fmla="*/ 0 h 509893"/>
              <a:gd name="connsiteX59" fmla="*/ 453827 w 1126698"/>
              <a:gd name="connsiteY59" fmla="*/ 0 h 509893"/>
              <a:gd name="connsiteX60" fmla="*/ 454412 w 1126698"/>
              <a:gd name="connsiteY60" fmla="*/ 0 h 509893"/>
              <a:gd name="connsiteX61" fmla="*/ 457421 w 1126698"/>
              <a:gd name="connsiteY61" fmla="*/ 0 h 509893"/>
              <a:gd name="connsiteX62" fmla="*/ 459060 w 1126698"/>
              <a:gd name="connsiteY62" fmla="*/ 0 h 509893"/>
              <a:gd name="connsiteX63" fmla="*/ 459071 w 1126698"/>
              <a:gd name="connsiteY63" fmla="*/ 0 h 509893"/>
              <a:gd name="connsiteX64" fmla="*/ 461010 w 1126698"/>
              <a:gd name="connsiteY64" fmla="*/ 0 h 509893"/>
              <a:gd name="connsiteX65" fmla="*/ 468161 w 1126698"/>
              <a:gd name="connsiteY65" fmla="*/ 0 h 509893"/>
              <a:gd name="connsiteX66" fmla="*/ 470491 w 1126698"/>
              <a:gd name="connsiteY66" fmla="*/ 0 h 509893"/>
              <a:gd name="connsiteX67" fmla="*/ 474758 w 1126698"/>
              <a:gd name="connsiteY67" fmla="*/ 0 h 509893"/>
              <a:gd name="connsiteX68" fmla="*/ 475345 w 1126698"/>
              <a:gd name="connsiteY68" fmla="*/ 0 h 509893"/>
              <a:gd name="connsiteX69" fmla="*/ 477087 w 1126698"/>
              <a:gd name="connsiteY69" fmla="*/ 0 h 509893"/>
              <a:gd name="connsiteX70" fmla="*/ 477673 w 1126698"/>
              <a:gd name="connsiteY70" fmla="*/ 0 h 509893"/>
              <a:gd name="connsiteX71" fmla="*/ 483334 w 1126698"/>
              <a:gd name="connsiteY71" fmla="*/ 0 h 509893"/>
              <a:gd name="connsiteX72" fmla="*/ 486775 w 1126698"/>
              <a:gd name="connsiteY72" fmla="*/ 0 h 509893"/>
              <a:gd name="connsiteX73" fmla="*/ 491423 w 1126698"/>
              <a:gd name="connsiteY73" fmla="*/ 0 h 509893"/>
              <a:gd name="connsiteX74" fmla="*/ 493361 w 1126698"/>
              <a:gd name="connsiteY74" fmla="*/ 0 h 509893"/>
              <a:gd name="connsiteX75" fmla="*/ 493371 w 1126698"/>
              <a:gd name="connsiteY75" fmla="*/ 0 h 509893"/>
              <a:gd name="connsiteX76" fmla="*/ 495012 w 1126698"/>
              <a:gd name="connsiteY76" fmla="*/ 0 h 509893"/>
              <a:gd name="connsiteX77" fmla="*/ 499999 w 1126698"/>
              <a:gd name="connsiteY77" fmla="*/ 0 h 509893"/>
              <a:gd name="connsiteX78" fmla="*/ 501351 w 1126698"/>
              <a:gd name="connsiteY78" fmla="*/ 0 h 509893"/>
              <a:gd name="connsiteX79" fmla="*/ 501937 w 1126698"/>
              <a:gd name="connsiteY79" fmla="*/ 0 h 509893"/>
              <a:gd name="connsiteX80" fmla="*/ 501947 w 1126698"/>
              <a:gd name="connsiteY80" fmla="*/ 0 h 509893"/>
              <a:gd name="connsiteX81" fmla="*/ 506595 w 1126698"/>
              <a:gd name="connsiteY81" fmla="*/ 0 h 509893"/>
              <a:gd name="connsiteX82" fmla="*/ 508535 w 1126698"/>
              <a:gd name="connsiteY82" fmla="*/ 0 h 509893"/>
              <a:gd name="connsiteX83" fmla="*/ 510036 w 1126698"/>
              <a:gd name="connsiteY83" fmla="*/ 0 h 509893"/>
              <a:gd name="connsiteX84" fmla="*/ 518015 w 1126698"/>
              <a:gd name="connsiteY84" fmla="*/ 0 h 509893"/>
              <a:gd name="connsiteX85" fmla="*/ 518026 w 1126698"/>
              <a:gd name="connsiteY85" fmla="*/ 0 h 509893"/>
              <a:gd name="connsiteX86" fmla="*/ 518612 w 1126698"/>
              <a:gd name="connsiteY86" fmla="*/ 0 h 509893"/>
              <a:gd name="connsiteX87" fmla="*/ 519964 w 1126698"/>
              <a:gd name="connsiteY87" fmla="*/ 0 h 509893"/>
              <a:gd name="connsiteX88" fmla="*/ 524611 w 1126698"/>
              <a:gd name="connsiteY88" fmla="*/ 0 h 509893"/>
              <a:gd name="connsiteX89" fmla="*/ 525198 w 1126698"/>
              <a:gd name="connsiteY89" fmla="*/ 0 h 509893"/>
              <a:gd name="connsiteX90" fmla="*/ 525208 w 1126698"/>
              <a:gd name="connsiteY90" fmla="*/ 0 h 509893"/>
              <a:gd name="connsiteX91" fmla="*/ 534300 w 1126698"/>
              <a:gd name="connsiteY91" fmla="*/ 0 h 509893"/>
              <a:gd name="connsiteX92" fmla="*/ 535949 w 1126698"/>
              <a:gd name="connsiteY92" fmla="*/ 0 h 509893"/>
              <a:gd name="connsiteX93" fmla="*/ 536628 w 1126698"/>
              <a:gd name="connsiteY93" fmla="*/ 0 h 509893"/>
              <a:gd name="connsiteX94" fmla="*/ 540896 w 1126698"/>
              <a:gd name="connsiteY94" fmla="*/ 0 h 509893"/>
              <a:gd name="connsiteX95" fmla="*/ 542536 w 1126698"/>
              <a:gd name="connsiteY95" fmla="*/ 0 h 509893"/>
              <a:gd name="connsiteX96" fmla="*/ 542546 w 1126698"/>
              <a:gd name="connsiteY96" fmla="*/ 0 h 509893"/>
              <a:gd name="connsiteX97" fmla="*/ 543225 w 1126698"/>
              <a:gd name="connsiteY97" fmla="*/ 0 h 509893"/>
              <a:gd name="connsiteX98" fmla="*/ 549472 w 1126698"/>
              <a:gd name="connsiteY98" fmla="*/ 0 h 509893"/>
              <a:gd name="connsiteX99" fmla="*/ 553966 w 1126698"/>
              <a:gd name="connsiteY99" fmla="*/ 0 h 509893"/>
              <a:gd name="connsiteX100" fmla="*/ 557561 w 1126698"/>
              <a:gd name="connsiteY100" fmla="*/ 0 h 509893"/>
              <a:gd name="connsiteX101" fmla="*/ 559210 w 1126698"/>
              <a:gd name="connsiteY101" fmla="*/ 0 h 509893"/>
              <a:gd name="connsiteX102" fmla="*/ 560563 w 1126698"/>
              <a:gd name="connsiteY102" fmla="*/ 0 h 509893"/>
              <a:gd name="connsiteX103" fmla="*/ 561148 w 1126698"/>
              <a:gd name="connsiteY103" fmla="*/ 0 h 509893"/>
              <a:gd name="connsiteX104" fmla="*/ 565550 w 1126698"/>
              <a:gd name="connsiteY104" fmla="*/ 0 h 509893"/>
              <a:gd name="connsiteX105" fmla="*/ 566137 w 1126698"/>
              <a:gd name="connsiteY105" fmla="*/ 0 h 509893"/>
              <a:gd name="connsiteX106" fmla="*/ 567489 w 1126698"/>
              <a:gd name="connsiteY106" fmla="*/ 0 h 509893"/>
              <a:gd name="connsiteX107" fmla="*/ 569139 w 1126698"/>
              <a:gd name="connsiteY107" fmla="*/ 0 h 509893"/>
              <a:gd name="connsiteX108" fmla="*/ 572733 w 1126698"/>
              <a:gd name="connsiteY108" fmla="*/ 0 h 509893"/>
              <a:gd name="connsiteX109" fmla="*/ 577227 w 1126698"/>
              <a:gd name="connsiteY109" fmla="*/ 0 h 509893"/>
              <a:gd name="connsiteX110" fmla="*/ 583473 w 1126698"/>
              <a:gd name="connsiteY110" fmla="*/ 0 h 509893"/>
              <a:gd name="connsiteX111" fmla="*/ 584153 w 1126698"/>
              <a:gd name="connsiteY111" fmla="*/ 0 h 509893"/>
              <a:gd name="connsiteX112" fmla="*/ 584163 w 1126698"/>
              <a:gd name="connsiteY112" fmla="*/ 0 h 509893"/>
              <a:gd name="connsiteX113" fmla="*/ 585803 w 1126698"/>
              <a:gd name="connsiteY113" fmla="*/ 0 h 509893"/>
              <a:gd name="connsiteX114" fmla="*/ 590070 w 1126698"/>
              <a:gd name="connsiteY114" fmla="*/ 0 h 509893"/>
              <a:gd name="connsiteX115" fmla="*/ 590750 w 1126698"/>
              <a:gd name="connsiteY115" fmla="*/ 0 h 509893"/>
              <a:gd name="connsiteX116" fmla="*/ 592399 w 1126698"/>
              <a:gd name="connsiteY116" fmla="*/ 0 h 509893"/>
              <a:gd name="connsiteX117" fmla="*/ 601490 w 1126698"/>
              <a:gd name="connsiteY117" fmla="*/ 0 h 509893"/>
              <a:gd name="connsiteX118" fmla="*/ 601501 w 1126698"/>
              <a:gd name="connsiteY118" fmla="*/ 0 h 509893"/>
              <a:gd name="connsiteX119" fmla="*/ 602087 w 1126698"/>
              <a:gd name="connsiteY119" fmla="*/ 0 h 509893"/>
              <a:gd name="connsiteX120" fmla="*/ 606735 w 1126698"/>
              <a:gd name="connsiteY120" fmla="*/ 0 h 509893"/>
              <a:gd name="connsiteX121" fmla="*/ 608087 w 1126698"/>
              <a:gd name="connsiteY121" fmla="*/ 0 h 509893"/>
              <a:gd name="connsiteX122" fmla="*/ 608673 w 1126698"/>
              <a:gd name="connsiteY122" fmla="*/ 0 h 509893"/>
              <a:gd name="connsiteX123" fmla="*/ 608683 w 1126698"/>
              <a:gd name="connsiteY123" fmla="*/ 0 h 509893"/>
              <a:gd name="connsiteX124" fmla="*/ 616663 w 1126698"/>
              <a:gd name="connsiteY124" fmla="*/ 0 h 509893"/>
              <a:gd name="connsiteX125" fmla="*/ 618165 w 1126698"/>
              <a:gd name="connsiteY125" fmla="*/ 0 h 509893"/>
              <a:gd name="connsiteX126" fmla="*/ 620103 w 1126698"/>
              <a:gd name="connsiteY126" fmla="*/ 0 h 509893"/>
              <a:gd name="connsiteX127" fmla="*/ 624751 w 1126698"/>
              <a:gd name="connsiteY127" fmla="*/ 0 h 509893"/>
              <a:gd name="connsiteX128" fmla="*/ 624762 w 1126698"/>
              <a:gd name="connsiteY128" fmla="*/ 0 h 509893"/>
              <a:gd name="connsiteX129" fmla="*/ 625348 w 1126698"/>
              <a:gd name="connsiteY129" fmla="*/ 0 h 509893"/>
              <a:gd name="connsiteX130" fmla="*/ 626699 w 1126698"/>
              <a:gd name="connsiteY130" fmla="*/ 0 h 509893"/>
              <a:gd name="connsiteX131" fmla="*/ 631688 w 1126698"/>
              <a:gd name="connsiteY131" fmla="*/ 0 h 509893"/>
              <a:gd name="connsiteX132" fmla="*/ 633327 w 1126698"/>
              <a:gd name="connsiteY132" fmla="*/ 0 h 509893"/>
              <a:gd name="connsiteX133" fmla="*/ 633338 w 1126698"/>
              <a:gd name="connsiteY133" fmla="*/ 0 h 509893"/>
              <a:gd name="connsiteX134" fmla="*/ 635276 w 1126698"/>
              <a:gd name="connsiteY134" fmla="*/ 0 h 509893"/>
              <a:gd name="connsiteX135" fmla="*/ 639923 w 1126698"/>
              <a:gd name="connsiteY135" fmla="*/ 0 h 509893"/>
              <a:gd name="connsiteX136" fmla="*/ 643364 w 1126698"/>
              <a:gd name="connsiteY136" fmla="*/ 0 h 509893"/>
              <a:gd name="connsiteX137" fmla="*/ 649025 w 1126698"/>
              <a:gd name="connsiteY137" fmla="*/ 0 h 509893"/>
              <a:gd name="connsiteX138" fmla="*/ 649612 w 1126698"/>
              <a:gd name="connsiteY138" fmla="*/ 0 h 509893"/>
              <a:gd name="connsiteX139" fmla="*/ 651354 w 1126698"/>
              <a:gd name="connsiteY139" fmla="*/ 0 h 509893"/>
              <a:gd name="connsiteX140" fmla="*/ 651940 w 1126698"/>
              <a:gd name="connsiteY140" fmla="*/ 0 h 509893"/>
              <a:gd name="connsiteX141" fmla="*/ 656208 w 1126698"/>
              <a:gd name="connsiteY141" fmla="*/ 0 h 509893"/>
              <a:gd name="connsiteX142" fmla="*/ 658537 w 1126698"/>
              <a:gd name="connsiteY142" fmla="*/ 0 h 509893"/>
              <a:gd name="connsiteX143" fmla="*/ 665690 w 1126698"/>
              <a:gd name="connsiteY143" fmla="*/ 0 h 509893"/>
              <a:gd name="connsiteX144" fmla="*/ 667628 w 1126698"/>
              <a:gd name="connsiteY144" fmla="*/ 0 h 509893"/>
              <a:gd name="connsiteX145" fmla="*/ 667638 w 1126698"/>
              <a:gd name="connsiteY145" fmla="*/ 0 h 509893"/>
              <a:gd name="connsiteX146" fmla="*/ 669278 w 1126698"/>
              <a:gd name="connsiteY146" fmla="*/ 0 h 509893"/>
              <a:gd name="connsiteX147" fmla="*/ 672286 w 1126698"/>
              <a:gd name="connsiteY147" fmla="*/ 0 h 509893"/>
              <a:gd name="connsiteX148" fmla="*/ 672873 w 1126698"/>
              <a:gd name="connsiteY148" fmla="*/ 0 h 509893"/>
              <a:gd name="connsiteX149" fmla="*/ 674224 w 1126698"/>
              <a:gd name="connsiteY149" fmla="*/ 0 h 509893"/>
              <a:gd name="connsiteX150" fmla="*/ 675875 w 1126698"/>
              <a:gd name="connsiteY150" fmla="*/ 0 h 509893"/>
              <a:gd name="connsiteX151" fmla="*/ 680862 w 1126698"/>
              <a:gd name="connsiteY151" fmla="*/ 0 h 509893"/>
              <a:gd name="connsiteX152" fmla="*/ 682801 w 1126698"/>
              <a:gd name="connsiteY152" fmla="*/ 0 h 509893"/>
              <a:gd name="connsiteX153" fmla="*/ 684302 w 1126698"/>
              <a:gd name="connsiteY153" fmla="*/ 0 h 509893"/>
              <a:gd name="connsiteX154" fmla="*/ 690889 w 1126698"/>
              <a:gd name="connsiteY154" fmla="*/ 0 h 509893"/>
              <a:gd name="connsiteX155" fmla="*/ 690899 w 1126698"/>
              <a:gd name="connsiteY155" fmla="*/ 0 h 509893"/>
              <a:gd name="connsiteX156" fmla="*/ 692539 w 1126698"/>
              <a:gd name="connsiteY156" fmla="*/ 0 h 509893"/>
              <a:gd name="connsiteX157" fmla="*/ 698878 w 1126698"/>
              <a:gd name="connsiteY157" fmla="*/ 0 h 509893"/>
              <a:gd name="connsiteX158" fmla="*/ 699465 w 1126698"/>
              <a:gd name="connsiteY158" fmla="*/ 0 h 509893"/>
              <a:gd name="connsiteX159" fmla="*/ 699475 w 1126698"/>
              <a:gd name="connsiteY159" fmla="*/ 0 h 509893"/>
              <a:gd name="connsiteX160" fmla="*/ 706062 w 1126698"/>
              <a:gd name="connsiteY160" fmla="*/ 0 h 509893"/>
              <a:gd name="connsiteX161" fmla="*/ 715163 w 1126698"/>
              <a:gd name="connsiteY161" fmla="*/ 0 h 509893"/>
              <a:gd name="connsiteX162" fmla="*/ 716802 w 1126698"/>
              <a:gd name="connsiteY162" fmla="*/ 0 h 509893"/>
              <a:gd name="connsiteX163" fmla="*/ 716813 w 1126698"/>
              <a:gd name="connsiteY163" fmla="*/ 0 h 509893"/>
              <a:gd name="connsiteX164" fmla="*/ 717492 w 1126698"/>
              <a:gd name="connsiteY164" fmla="*/ 0 h 509893"/>
              <a:gd name="connsiteX165" fmla="*/ 723399 w 1126698"/>
              <a:gd name="connsiteY165" fmla="*/ 0 h 509893"/>
              <a:gd name="connsiteX166" fmla="*/ 731827 w 1126698"/>
              <a:gd name="connsiteY166" fmla="*/ 0 h 509893"/>
              <a:gd name="connsiteX167" fmla="*/ 733477 w 1126698"/>
              <a:gd name="connsiteY167" fmla="*/ 0 h 509893"/>
              <a:gd name="connsiteX168" fmla="*/ 734829 w 1126698"/>
              <a:gd name="connsiteY168" fmla="*/ 0 h 509893"/>
              <a:gd name="connsiteX169" fmla="*/ 735415 w 1126698"/>
              <a:gd name="connsiteY169" fmla="*/ 0 h 509893"/>
              <a:gd name="connsiteX170" fmla="*/ 738424 w 1126698"/>
              <a:gd name="connsiteY170" fmla="*/ 0 h 509893"/>
              <a:gd name="connsiteX171" fmla="*/ 740063 w 1126698"/>
              <a:gd name="connsiteY171" fmla="*/ 0 h 509893"/>
              <a:gd name="connsiteX172" fmla="*/ 740074 w 1126698"/>
              <a:gd name="connsiteY172" fmla="*/ 0 h 509893"/>
              <a:gd name="connsiteX173" fmla="*/ 742011 w 1126698"/>
              <a:gd name="connsiteY173" fmla="*/ 0 h 509893"/>
              <a:gd name="connsiteX174" fmla="*/ 747000 w 1126698"/>
              <a:gd name="connsiteY174" fmla="*/ 0 h 509893"/>
              <a:gd name="connsiteX175" fmla="*/ 751494 w 1126698"/>
              <a:gd name="connsiteY175" fmla="*/ 0 h 509893"/>
              <a:gd name="connsiteX176" fmla="*/ 758090 w 1126698"/>
              <a:gd name="connsiteY176" fmla="*/ 0 h 509893"/>
              <a:gd name="connsiteX177" fmla="*/ 758676 w 1126698"/>
              <a:gd name="connsiteY177" fmla="*/ 0 h 509893"/>
              <a:gd name="connsiteX178" fmla="*/ 764337 w 1126698"/>
              <a:gd name="connsiteY178" fmla="*/ 0 h 509893"/>
              <a:gd name="connsiteX179" fmla="*/ 765017 w 1126698"/>
              <a:gd name="connsiteY179" fmla="*/ 0 h 509893"/>
              <a:gd name="connsiteX180" fmla="*/ 766666 w 1126698"/>
              <a:gd name="connsiteY180" fmla="*/ 0 h 509893"/>
              <a:gd name="connsiteX181" fmla="*/ 781002 w 1126698"/>
              <a:gd name="connsiteY181" fmla="*/ 0 h 509893"/>
              <a:gd name="connsiteX182" fmla="*/ 782353 w 1126698"/>
              <a:gd name="connsiteY182" fmla="*/ 0 h 509893"/>
              <a:gd name="connsiteX183" fmla="*/ 782940 w 1126698"/>
              <a:gd name="connsiteY183" fmla="*/ 0 h 509893"/>
              <a:gd name="connsiteX184" fmla="*/ 782950 w 1126698"/>
              <a:gd name="connsiteY184" fmla="*/ 0 h 509893"/>
              <a:gd name="connsiteX185" fmla="*/ 787598 w 1126698"/>
              <a:gd name="connsiteY185" fmla="*/ 0 h 509893"/>
              <a:gd name="connsiteX186" fmla="*/ 789536 w 1126698"/>
              <a:gd name="connsiteY186" fmla="*/ 0 h 509893"/>
              <a:gd name="connsiteX187" fmla="*/ 799018 w 1126698"/>
              <a:gd name="connsiteY187" fmla="*/ 0 h 509893"/>
              <a:gd name="connsiteX188" fmla="*/ 799029 w 1126698"/>
              <a:gd name="connsiteY188" fmla="*/ 0 h 509893"/>
              <a:gd name="connsiteX189" fmla="*/ 799614 w 1126698"/>
              <a:gd name="connsiteY189" fmla="*/ 0 h 509893"/>
              <a:gd name="connsiteX190" fmla="*/ 800966 w 1126698"/>
              <a:gd name="connsiteY190" fmla="*/ 0 h 509893"/>
              <a:gd name="connsiteX191" fmla="*/ 805614 w 1126698"/>
              <a:gd name="connsiteY191" fmla="*/ 0 h 509893"/>
              <a:gd name="connsiteX192" fmla="*/ 806201 w 1126698"/>
              <a:gd name="connsiteY192" fmla="*/ 0 h 509893"/>
              <a:gd name="connsiteX193" fmla="*/ 806211 w 1126698"/>
              <a:gd name="connsiteY193" fmla="*/ 0 h 509893"/>
              <a:gd name="connsiteX194" fmla="*/ 814190 w 1126698"/>
              <a:gd name="connsiteY194" fmla="*/ 0 h 509893"/>
              <a:gd name="connsiteX195" fmla="*/ 817631 w 1126698"/>
              <a:gd name="connsiteY195" fmla="*/ 0 h 509893"/>
              <a:gd name="connsiteX196" fmla="*/ 824227 w 1126698"/>
              <a:gd name="connsiteY196" fmla="*/ 0 h 509893"/>
              <a:gd name="connsiteX197" fmla="*/ 830475 w 1126698"/>
              <a:gd name="connsiteY197" fmla="*/ 0 h 509893"/>
              <a:gd name="connsiteX198" fmla="*/ 832804 w 1126698"/>
              <a:gd name="connsiteY198" fmla="*/ 0 h 509893"/>
              <a:gd name="connsiteX199" fmla="*/ 846553 w 1126698"/>
              <a:gd name="connsiteY199" fmla="*/ 0 h 509893"/>
              <a:gd name="connsiteX200" fmla="*/ 847139 w 1126698"/>
              <a:gd name="connsiteY200" fmla="*/ 0 h 509893"/>
              <a:gd name="connsiteX201" fmla="*/ 848491 w 1126698"/>
              <a:gd name="connsiteY201" fmla="*/ 0 h 509893"/>
              <a:gd name="connsiteX202" fmla="*/ 850141 w 1126698"/>
              <a:gd name="connsiteY202" fmla="*/ 0 h 509893"/>
              <a:gd name="connsiteX203" fmla="*/ 853736 w 1126698"/>
              <a:gd name="connsiteY203" fmla="*/ 0 h 509893"/>
              <a:gd name="connsiteX204" fmla="*/ 865156 w 1126698"/>
              <a:gd name="connsiteY204" fmla="*/ 0 h 509893"/>
              <a:gd name="connsiteX205" fmla="*/ 865165 w 1126698"/>
              <a:gd name="connsiteY205" fmla="*/ 0 h 509893"/>
              <a:gd name="connsiteX206" fmla="*/ 866806 w 1126698"/>
              <a:gd name="connsiteY206" fmla="*/ 0 h 509893"/>
              <a:gd name="connsiteX207" fmla="*/ 871752 w 1126698"/>
              <a:gd name="connsiteY207" fmla="*/ 0 h 509893"/>
              <a:gd name="connsiteX208" fmla="*/ 1126698 w 1126698"/>
              <a:gd name="connsiteY208" fmla="*/ 254948 h 509893"/>
              <a:gd name="connsiteX209" fmla="*/ 1126697 w 1126698"/>
              <a:gd name="connsiteY209" fmla="*/ 254948 h 509893"/>
              <a:gd name="connsiteX210" fmla="*/ 871752 w 1126698"/>
              <a:gd name="connsiteY210" fmla="*/ 509893 h 509893"/>
              <a:gd name="connsiteX211" fmla="*/ 866807 w 1126698"/>
              <a:gd name="connsiteY211" fmla="*/ 509893 h 509893"/>
              <a:gd name="connsiteX212" fmla="*/ 866805 w 1126698"/>
              <a:gd name="connsiteY212" fmla="*/ 509893 h 509893"/>
              <a:gd name="connsiteX213" fmla="*/ 865168 w 1126698"/>
              <a:gd name="connsiteY213" fmla="*/ 509893 h 509893"/>
              <a:gd name="connsiteX214" fmla="*/ 865164 w 1126698"/>
              <a:gd name="connsiteY214" fmla="*/ 509893 h 509893"/>
              <a:gd name="connsiteX215" fmla="*/ 865155 w 1126698"/>
              <a:gd name="connsiteY215" fmla="*/ 509893 h 509893"/>
              <a:gd name="connsiteX216" fmla="*/ 853736 w 1126698"/>
              <a:gd name="connsiteY216" fmla="*/ 509893 h 509893"/>
              <a:gd name="connsiteX217" fmla="*/ 853735 w 1126698"/>
              <a:gd name="connsiteY217" fmla="*/ 509893 h 509893"/>
              <a:gd name="connsiteX218" fmla="*/ 847139 w 1126698"/>
              <a:gd name="connsiteY218" fmla="*/ 509893 h 509893"/>
              <a:gd name="connsiteX219" fmla="*/ 847138 w 1126698"/>
              <a:gd name="connsiteY219" fmla="*/ 509893 h 509893"/>
              <a:gd name="connsiteX220" fmla="*/ 846553 w 1126698"/>
              <a:gd name="connsiteY220" fmla="*/ 509893 h 509893"/>
              <a:gd name="connsiteX221" fmla="*/ 846552 w 1126698"/>
              <a:gd name="connsiteY221" fmla="*/ 509893 h 509893"/>
              <a:gd name="connsiteX222" fmla="*/ 832805 w 1126698"/>
              <a:gd name="connsiteY222" fmla="*/ 509893 h 509893"/>
              <a:gd name="connsiteX223" fmla="*/ 832803 w 1126698"/>
              <a:gd name="connsiteY223" fmla="*/ 509893 h 509893"/>
              <a:gd name="connsiteX224" fmla="*/ 824229 w 1126698"/>
              <a:gd name="connsiteY224" fmla="*/ 509893 h 509893"/>
              <a:gd name="connsiteX225" fmla="*/ 824227 w 1126698"/>
              <a:gd name="connsiteY225" fmla="*/ 509893 h 509893"/>
              <a:gd name="connsiteX226" fmla="*/ 817633 w 1126698"/>
              <a:gd name="connsiteY226" fmla="*/ 509893 h 509893"/>
              <a:gd name="connsiteX227" fmla="*/ 817629 w 1126698"/>
              <a:gd name="connsiteY227" fmla="*/ 509893 h 509893"/>
              <a:gd name="connsiteX228" fmla="*/ 814190 w 1126698"/>
              <a:gd name="connsiteY228" fmla="*/ 509893 h 509893"/>
              <a:gd name="connsiteX229" fmla="*/ 806213 w 1126698"/>
              <a:gd name="connsiteY229" fmla="*/ 509893 h 509893"/>
              <a:gd name="connsiteX230" fmla="*/ 806210 w 1126698"/>
              <a:gd name="connsiteY230" fmla="*/ 509893 h 509893"/>
              <a:gd name="connsiteX231" fmla="*/ 806200 w 1126698"/>
              <a:gd name="connsiteY231" fmla="*/ 509893 h 509893"/>
              <a:gd name="connsiteX232" fmla="*/ 805614 w 1126698"/>
              <a:gd name="connsiteY232" fmla="*/ 509893 h 509893"/>
              <a:gd name="connsiteX233" fmla="*/ 805613 w 1126698"/>
              <a:gd name="connsiteY233" fmla="*/ 509893 h 509893"/>
              <a:gd name="connsiteX234" fmla="*/ 799616 w 1126698"/>
              <a:gd name="connsiteY234" fmla="*/ 509893 h 509893"/>
              <a:gd name="connsiteX235" fmla="*/ 799613 w 1126698"/>
              <a:gd name="connsiteY235" fmla="*/ 509893 h 509893"/>
              <a:gd name="connsiteX236" fmla="*/ 799030 w 1126698"/>
              <a:gd name="connsiteY236" fmla="*/ 509893 h 509893"/>
              <a:gd name="connsiteX237" fmla="*/ 799028 w 1126698"/>
              <a:gd name="connsiteY237" fmla="*/ 509893 h 509893"/>
              <a:gd name="connsiteX238" fmla="*/ 799018 w 1126698"/>
              <a:gd name="connsiteY238" fmla="*/ 509893 h 509893"/>
              <a:gd name="connsiteX239" fmla="*/ 799017 w 1126698"/>
              <a:gd name="connsiteY239" fmla="*/ 509893 h 509893"/>
              <a:gd name="connsiteX240" fmla="*/ 787598 w 1126698"/>
              <a:gd name="connsiteY240" fmla="*/ 509893 h 509893"/>
              <a:gd name="connsiteX241" fmla="*/ 787597 w 1126698"/>
              <a:gd name="connsiteY241" fmla="*/ 509893 h 509893"/>
              <a:gd name="connsiteX242" fmla="*/ 781002 w 1126698"/>
              <a:gd name="connsiteY242" fmla="*/ 509893 h 509893"/>
              <a:gd name="connsiteX243" fmla="*/ 781001 w 1126698"/>
              <a:gd name="connsiteY243" fmla="*/ 509893 h 509893"/>
              <a:gd name="connsiteX244" fmla="*/ 766668 w 1126698"/>
              <a:gd name="connsiteY244" fmla="*/ 509893 h 509893"/>
              <a:gd name="connsiteX245" fmla="*/ 766666 w 1126698"/>
              <a:gd name="connsiteY245" fmla="*/ 509893 h 509893"/>
              <a:gd name="connsiteX246" fmla="*/ 765016 w 1126698"/>
              <a:gd name="connsiteY246" fmla="*/ 509893 h 509893"/>
              <a:gd name="connsiteX247" fmla="*/ 758678 w 1126698"/>
              <a:gd name="connsiteY247" fmla="*/ 509893 h 509893"/>
              <a:gd name="connsiteX248" fmla="*/ 758675 w 1126698"/>
              <a:gd name="connsiteY248" fmla="*/ 509893 h 509893"/>
              <a:gd name="connsiteX249" fmla="*/ 758092 w 1126698"/>
              <a:gd name="connsiteY249" fmla="*/ 509893 h 509893"/>
              <a:gd name="connsiteX250" fmla="*/ 758089 w 1126698"/>
              <a:gd name="connsiteY250" fmla="*/ 509893 h 509893"/>
              <a:gd name="connsiteX251" fmla="*/ 751495 w 1126698"/>
              <a:gd name="connsiteY251" fmla="*/ 509893 h 509893"/>
              <a:gd name="connsiteX252" fmla="*/ 751493 w 1126698"/>
              <a:gd name="connsiteY252" fmla="*/ 509893 h 509893"/>
              <a:gd name="connsiteX253" fmla="*/ 747000 w 1126698"/>
              <a:gd name="connsiteY253" fmla="*/ 509893 h 509893"/>
              <a:gd name="connsiteX254" fmla="*/ 740075 w 1126698"/>
              <a:gd name="connsiteY254" fmla="*/ 509893 h 509893"/>
              <a:gd name="connsiteX255" fmla="*/ 740073 w 1126698"/>
              <a:gd name="connsiteY255" fmla="*/ 509893 h 509893"/>
              <a:gd name="connsiteX256" fmla="*/ 740063 w 1126698"/>
              <a:gd name="connsiteY256" fmla="*/ 509893 h 509893"/>
              <a:gd name="connsiteX257" fmla="*/ 740062 w 1126698"/>
              <a:gd name="connsiteY257" fmla="*/ 509893 h 509893"/>
              <a:gd name="connsiteX258" fmla="*/ 738424 w 1126698"/>
              <a:gd name="connsiteY258" fmla="*/ 509893 h 509893"/>
              <a:gd name="connsiteX259" fmla="*/ 738423 w 1126698"/>
              <a:gd name="connsiteY259" fmla="*/ 509893 h 509893"/>
              <a:gd name="connsiteX260" fmla="*/ 733478 w 1126698"/>
              <a:gd name="connsiteY260" fmla="*/ 509893 h 509893"/>
              <a:gd name="connsiteX261" fmla="*/ 733477 w 1126698"/>
              <a:gd name="connsiteY261" fmla="*/ 509893 h 509893"/>
              <a:gd name="connsiteX262" fmla="*/ 731827 w 1126698"/>
              <a:gd name="connsiteY262" fmla="*/ 509893 h 509893"/>
              <a:gd name="connsiteX263" fmla="*/ 731826 w 1126698"/>
              <a:gd name="connsiteY263" fmla="*/ 509893 h 509893"/>
              <a:gd name="connsiteX264" fmla="*/ 717493 w 1126698"/>
              <a:gd name="connsiteY264" fmla="*/ 509893 h 509893"/>
              <a:gd name="connsiteX265" fmla="*/ 717491 w 1126698"/>
              <a:gd name="connsiteY265" fmla="*/ 509893 h 509893"/>
              <a:gd name="connsiteX266" fmla="*/ 706061 w 1126698"/>
              <a:gd name="connsiteY266" fmla="*/ 509893 h 509893"/>
              <a:gd name="connsiteX267" fmla="*/ 699477 w 1126698"/>
              <a:gd name="connsiteY267" fmla="*/ 509893 h 509893"/>
              <a:gd name="connsiteX268" fmla="*/ 699475 w 1126698"/>
              <a:gd name="connsiteY268" fmla="*/ 509893 h 509893"/>
              <a:gd name="connsiteX269" fmla="*/ 699464 w 1126698"/>
              <a:gd name="connsiteY269" fmla="*/ 509893 h 509893"/>
              <a:gd name="connsiteX270" fmla="*/ 698878 w 1126698"/>
              <a:gd name="connsiteY270" fmla="*/ 509893 h 509893"/>
              <a:gd name="connsiteX271" fmla="*/ 692540 w 1126698"/>
              <a:gd name="connsiteY271" fmla="*/ 509893 h 509893"/>
              <a:gd name="connsiteX272" fmla="*/ 692538 w 1126698"/>
              <a:gd name="connsiteY272" fmla="*/ 509893 h 509893"/>
              <a:gd name="connsiteX273" fmla="*/ 690901 w 1126698"/>
              <a:gd name="connsiteY273" fmla="*/ 509893 h 509893"/>
              <a:gd name="connsiteX274" fmla="*/ 690898 w 1126698"/>
              <a:gd name="connsiteY274" fmla="*/ 509893 h 509893"/>
              <a:gd name="connsiteX275" fmla="*/ 690888 w 1126698"/>
              <a:gd name="connsiteY275" fmla="*/ 509893 h 509893"/>
              <a:gd name="connsiteX276" fmla="*/ 684304 w 1126698"/>
              <a:gd name="connsiteY276" fmla="*/ 509893 h 509893"/>
              <a:gd name="connsiteX277" fmla="*/ 684301 w 1126698"/>
              <a:gd name="connsiteY277" fmla="*/ 509893 h 509893"/>
              <a:gd name="connsiteX278" fmla="*/ 680862 w 1126698"/>
              <a:gd name="connsiteY278" fmla="*/ 509893 h 509893"/>
              <a:gd name="connsiteX279" fmla="*/ 680861 w 1126698"/>
              <a:gd name="connsiteY279" fmla="*/ 509893 h 509893"/>
              <a:gd name="connsiteX280" fmla="*/ 672873 w 1126698"/>
              <a:gd name="connsiteY280" fmla="*/ 509893 h 509893"/>
              <a:gd name="connsiteX281" fmla="*/ 672872 w 1126698"/>
              <a:gd name="connsiteY281" fmla="*/ 509893 h 509893"/>
              <a:gd name="connsiteX282" fmla="*/ 672286 w 1126698"/>
              <a:gd name="connsiteY282" fmla="*/ 509893 h 509893"/>
              <a:gd name="connsiteX283" fmla="*/ 672285 w 1126698"/>
              <a:gd name="connsiteY283" fmla="*/ 509893 h 509893"/>
              <a:gd name="connsiteX284" fmla="*/ 665690 w 1126698"/>
              <a:gd name="connsiteY284" fmla="*/ 509893 h 509893"/>
              <a:gd name="connsiteX285" fmla="*/ 665689 w 1126698"/>
              <a:gd name="connsiteY285" fmla="*/ 509893 h 509893"/>
              <a:gd name="connsiteX286" fmla="*/ 658538 w 1126698"/>
              <a:gd name="connsiteY286" fmla="*/ 509893 h 509893"/>
              <a:gd name="connsiteX287" fmla="*/ 658536 w 1126698"/>
              <a:gd name="connsiteY287" fmla="*/ 509893 h 509893"/>
              <a:gd name="connsiteX288" fmla="*/ 651942 w 1126698"/>
              <a:gd name="connsiteY288" fmla="*/ 509893 h 509893"/>
              <a:gd name="connsiteX289" fmla="*/ 651939 w 1126698"/>
              <a:gd name="connsiteY289" fmla="*/ 509893 h 509893"/>
              <a:gd name="connsiteX290" fmla="*/ 651356 w 1126698"/>
              <a:gd name="connsiteY290" fmla="*/ 509893 h 509893"/>
              <a:gd name="connsiteX291" fmla="*/ 651354 w 1126698"/>
              <a:gd name="connsiteY291" fmla="*/ 509893 h 509893"/>
              <a:gd name="connsiteX292" fmla="*/ 643366 w 1126698"/>
              <a:gd name="connsiteY292" fmla="*/ 509893 h 509893"/>
              <a:gd name="connsiteX293" fmla="*/ 643363 w 1126698"/>
              <a:gd name="connsiteY293" fmla="*/ 509893 h 509893"/>
              <a:gd name="connsiteX294" fmla="*/ 639923 w 1126698"/>
              <a:gd name="connsiteY294" fmla="*/ 509893 h 509893"/>
              <a:gd name="connsiteX295" fmla="*/ 633339 w 1126698"/>
              <a:gd name="connsiteY295" fmla="*/ 509893 h 509893"/>
              <a:gd name="connsiteX296" fmla="*/ 633337 w 1126698"/>
              <a:gd name="connsiteY296" fmla="*/ 509893 h 509893"/>
              <a:gd name="connsiteX297" fmla="*/ 633327 w 1126698"/>
              <a:gd name="connsiteY297" fmla="*/ 509893 h 509893"/>
              <a:gd name="connsiteX298" fmla="*/ 633326 w 1126698"/>
              <a:gd name="connsiteY298" fmla="*/ 509893 h 509893"/>
              <a:gd name="connsiteX299" fmla="*/ 631688 w 1126698"/>
              <a:gd name="connsiteY299" fmla="*/ 509893 h 509893"/>
              <a:gd name="connsiteX300" fmla="*/ 625349 w 1126698"/>
              <a:gd name="connsiteY300" fmla="*/ 509893 h 509893"/>
              <a:gd name="connsiteX301" fmla="*/ 625347 w 1126698"/>
              <a:gd name="connsiteY301" fmla="*/ 509893 h 509893"/>
              <a:gd name="connsiteX302" fmla="*/ 624763 w 1126698"/>
              <a:gd name="connsiteY302" fmla="*/ 509893 h 509893"/>
              <a:gd name="connsiteX303" fmla="*/ 624761 w 1126698"/>
              <a:gd name="connsiteY303" fmla="*/ 509893 h 509893"/>
              <a:gd name="connsiteX304" fmla="*/ 624751 w 1126698"/>
              <a:gd name="connsiteY304" fmla="*/ 509893 h 509893"/>
              <a:gd name="connsiteX305" fmla="*/ 624750 w 1126698"/>
              <a:gd name="connsiteY305" fmla="*/ 509893 h 509893"/>
              <a:gd name="connsiteX306" fmla="*/ 618166 w 1126698"/>
              <a:gd name="connsiteY306" fmla="*/ 509893 h 509893"/>
              <a:gd name="connsiteX307" fmla="*/ 618165 w 1126698"/>
              <a:gd name="connsiteY307" fmla="*/ 509893 h 509893"/>
              <a:gd name="connsiteX308" fmla="*/ 606735 w 1126698"/>
              <a:gd name="connsiteY308" fmla="*/ 509893 h 509893"/>
              <a:gd name="connsiteX309" fmla="*/ 606734 w 1126698"/>
              <a:gd name="connsiteY309" fmla="*/ 509893 h 509893"/>
              <a:gd name="connsiteX310" fmla="*/ 592402 w 1126698"/>
              <a:gd name="connsiteY310" fmla="*/ 509893 h 509893"/>
              <a:gd name="connsiteX311" fmla="*/ 592399 w 1126698"/>
              <a:gd name="connsiteY311" fmla="*/ 509893 h 509893"/>
              <a:gd name="connsiteX312" fmla="*/ 590749 w 1126698"/>
              <a:gd name="connsiteY312" fmla="*/ 509893 h 509893"/>
              <a:gd name="connsiteX313" fmla="*/ 585805 w 1126698"/>
              <a:gd name="connsiteY313" fmla="*/ 509893 h 509893"/>
              <a:gd name="connsiteX314" fmla="*/ 585802 w 1126698"/>
              <a:gd name="connsiteY314" fmla="*/ 509893 h 509893"/>
              <a:gd name="connsiteX315" fmla="*/ 584165 w 1126698"/>
              <a:gd name="connsiteY315" fmla="*/ 509893 h 509893"/>
              <a:gd name="connsiteX316" fmla="*/ 584163 w 1126698"/>
              <a:gd name="connsiteY316" fmla="*/ 509893 h 509893"/>
              <a:gd name="connsiteX317" fmla="*/ 584152 w 1126698"/>
              <a:gd name="connsiteY317" fmla="*/ 509893 h 509893"/>
              <a:gd name="connsiteX318" fmla="*/ 577228 w 1126698"/>
              <a:gd name="connsiteY318" fmla="*/ 509893 h 509893"/>
              <a:gd name="connsiteX319" fmla="*/ 577226 w 1126698"/>
              <a:gd name="connsiteY319" fmla="*/ 509893 h 509893"/>
              <a:gd name="connsiteX320" fmla="*/ 572733 w 1126698"/>
              <a:gd name="connsiteY320" fmla="*/ 509893 h 509893"/>
              <a:gd name="connsiteX321" fmla="*/ 566137 w 1126698"/>
              <a:gd name="connsiteY321" fmla="*/ 509893 h 509893"/>
              <a:gd name="connsiteX322" fmla="*/ 566136 w 1126698"/>
              <a:gd name="connsiteY322" fmla="*/ 509893 h 509893"/>
              <a:gd name="connsiteX323" fmla="*/ 565550 w 1126698"/>
              <a:gd name="connsiteY323" fmla="*/ 509893 h 509893"/>
              <a:gd name="connsiteX324" fmla="*/ 565549 w 1126698"/>
              <a:gd name="connsiteY324" fmla="*/ 509893 h 509893"/>
              <a:gd name="connsiteX325" fmla="*/ 559211 w 1126698"/>
              <a:gd name="connsiteY325" fmla="*/ 509893 h 509893"/>
              <a:gd name="connsiteX326" fmla="*/ 559210 w 1126698"/>
              <a:gd name="connsiteY326" fmla="*/ 509893 h 509893"/>
              <a:gd name="connsiteX327" fmla="*/ 557561 w 1126698"/>
              <a:gd name="connsiteY327" fmla="*/ 509893 h 509893"/>
              <a:gd name="connsiteX328" fmla="*/ 557560 w 1126698"/>
              <a:gd name="connsiteY328" fmla="*/ 509893 h 509893"/>
              <a:gd name="connsiteX329" fmla="*/ 543226 w 1126698"/>
              <a:gd name="connsiteY329" fmla="*/ 509893 h 509893"/>
              <a:gd name="connsiteX330" fmla="*/ 543224 w 1126698"/>
              <a:gd name="connsiteY330" fmla="*/ 509893 h 509893"/>
              <a:gd name="connsiteX331" fmla="*/ 536630 w 1126698"/>
              <a:gd name="connsiteY331" fmla="*/ 509893 h 509893"/>
              <a:gd name="connsiteX332" fmla="*/ 536627 w 1126698"/>
              <a:gd name="connsiteY332" fmla="*/ 509893 h 509893"/>
              <a:gd name="connsiteX333" fmla="*/ 525210 w 1126698"/>
              <a:gd name="connsiteY333" fmla="*/ 509893 h 509893"/>
              <a:gd name="connsiteX334" fmla="*/ 525208 w 1126698"/>
              <a:gd name="connsiteY334" fmla="*/ 509893 h 509893"/>
              <a:gd name="connsiteX335" fmla="*/ 525197 w 1126698"/>
              <a:gd name="connsiteY335" fmla="*/ 509893 h 509893"/>
              <a:gd name="connsiteX336" fmla="*/ 524611 w 1126698"/>
              <a:gd name="connsiteY336" fmla="*/ 509893 h 509893"/>
              <a:gd name="connsiteX337" fmla="*/ 518614 w 1126698"/>
              <a:gd name="connsiteY337" fmla="*/ 509893 h 509893"/>
              <a:gd name="connsiteX338" fmla="*/ 518611 w 1126698"/>
              <a:gd name="connsiteY338" fmla="*/ 509893 h 509893"/>
              <a:gd name="connsiteX339" fmla="*/ 518027 w 1126698"/>
              <a:gd name="connsiteY339" fmla="*/ 509893 h 509893"/>
              <a:gd name="connsiteX340" fmla="*/ 518025 w 1126698"/>
              <a:gd name="connsiteY340" fmla="*/ 509893 h 509893"/>
              <a:gd name="connsiteX341" fmla="*/ 518015 w 1126698"/>
              <a:gd name="connsiteY341" fmla="*/ 509893 h 509893"/>
              <a:gd name="connsiteX342" fmla="*/ 518014 w 1126698"/>
              <a:gd name="connsiteY342" fmla="*/ 509893 h 509893"/>
              <a:gd name="connsiteX343" fmla="*/ 510037 w 1126698"/>
              <a:gd name="connsiteY343" fmla="*/ 509893 h 509893"/>
              <a:gd name="connsiteX344" fmla="*/ 510035 w 1126698"/>
              <a:gd name="connsiteY344" fmla="*/ 509893 h 509893"/>
              <a:gd name="connsiteX345" fmla="*/ 506595 w 1126698"/>
              <a:gd name="connsiteY345" fmla="*/ 509893 h 509893"/>
              <a:gd name="connsiteX346" fmla="*/ 506594 w 1126698"/>
              <a:gd name="connsiteY346" fmla="*/ 509893 h 509893"/>
              <a:gd name="connsiteX347" fmla="*/ 499999 w 1126698"/>
              <a:gd name="connsiteY347" fmla="*/ 509893 h 509893"/>
              <a:gd name="connsiteX348" fmla="*/ 499998 w 1126698"/>
              <a:gd name="connsiteY348" fmla="*/ 509893 h 509893"/>
              <a:gd name="connsiteX349" fmla="*/ 491423 w 1126698"/>
              <a:gd name="connsiteY349" fmla="*/ 509893 h 509893"/>
              <a:gd name="connsiteX350" fmla="*/ 491422 w 1126698"/>
              <a:gd name="connsiteY350" fmla="*/ 509893 h 509893"/>
              <a:gd name="connsiteX351" fmla="*/ 477675 w 1126698"/>
              <a:gd name="connsiteY351" fmla="*/ 509893 h 509893"/>
              <a:gd name="connsiteX352" fmla="*/ 477672 w 1126698"/>
              <a:gd name="connsiteY352" fmla="*/ 509893 h 509893"/>
              <a:gd name="connsiteX353" fmla="*/ 477090 w 1126698"/>
              <a:gd name="connsiteY353" fmla="*/ 509893 h 509893"/>
              <a:gd name="connsiteX354" fmla="*/ 477087 w 1126698"/>
              <a:gd name="connsiteY354" fmla="*/ 509893 h 509893"/>
              <a:gd name="connsiteX355" fmla="*/ 470493 w 1126698"/>
              <a:gd name="connsiteY355" fmla="*/ 509893 h 509893"/>
              <a:gd name="connsiteX356" fmla="*/ 470490 w 1126698"/>
              <a:gd name="connsiteY356" fmla="*/ 509893 h 509893"/>
              <a:gd name="connsiteX357" fmla="*/ 459072 w 1126698"/>
              <a:gd name="connsiteY357" fmla="*/ 509893 h 509893"/>
              <a:gd name="connsiteX358" fmla="*/ 459070 w 1126698"/>
              <a:gd name="connsiteY358" fmla="*/ 509893 h 509893"/>
              <a:gd name="connsiteX359" fmla="*/ 459060 w 1126698"/>
              <a:gd name="connsiteY359" fmla="*/ 509893 h 509893"/>
              <a:gd name="connsiteX360" fmla="*/ 459059 w 1126698"/>
              <a:gd name="connsiteY360" fmla="*/ 509893 h 509893"/>
              <a:gd name="connsiteX361" fmla="*/ 457421 w 1126698"/>
              <a:gd name="connsiteY361" fmla="*/ 509893 h 509893"/>
              <a:gd name="connsiteX362" fmla="*/ 452476 w 1126698"/>
              <a:gd name="connsiteY362" fmla="*/ 509893 h 509893"/>
              <a:gd name="connsiteX363" fmla="*/ 452474 w 1126698"/>
              <a:gd name="connsiteY363" fmla="*/ 509893 h 509893"/>
              <a:gd name="connsiteX364" fmla="*/ 254947 w 1126698"/>
              <a:gd name="connsiteY364" fmla="*/ 509892 h 509893"/>
              <a:gd name="connsiteX365" fmla="*/ 5179 w 1126698"/>
              <a:gd name="connsiteY365" fmla="*/ 306327 h 509893"/>
              <a:gd name="connsiteX366" fmla="*/ 0 w 1126698"/>
              <a:gd name="connsiteY366" fmla="*/ 254948 h 509893"/>
              <a:gd name="connsiteX367" fmla="*/ 5179 w 1126698"/>
              <a:gd name="connsiteY367" fmla="*/ 203567 h 509893"/>
              <a:gd name="connsiteX368" fmla="*/ 254947 w 1126698"/>
              <a:gd name="connsiteY368" fmla="*/ 0 h 509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</a:cxnLst>
            <a:rect l="l" t="t" r="r" b="b"/>
            <a:pathLst>
              <a:path w="1126698" h="509893">
                <a:moveTo>
                  <a:pt x="254947" y="0"/>
                </a:moveTo>
                <a:lnTo>
                  <a:pt x="259893" y="0"/>
                </a:lnTo>
                <a:lnTo>
                  <a:pt x="261533" y="0"/>
                </a:lnTo>
                <a:lnTo>
                  <a:pt x="261544" y="0"/>
                </a:lnTo>
                <a:lnTo>
                  <a:pt x="272964" y="0"/>
                </a:lnTo>
                <a:lnTo>
                  <a:pt x="276558" y="0"/>
                </a:lnTo>
                <a:lnTo>
                  <a:pt x="278208" y="0"/>
                </a:lnTo>
                <a:lnTo>
                  <a:pt x="279560" y="0"/>
                </a:lnTo>
                <a:lnTo>
                  <a:pt x="280145" y="0"/>
                </a:lnTo>
                <a:lnTo>
                  <a:pt x="293894" y="0"/>
                </a:lnTo>
                <a:lnTo>
                  <a:pt x="296224" y="0"/>
                </a:lnTo>
                <a:lnTo>
                  <a:pt x="302471" y="0"/>
                </a:lnTo>
                <a:lnTo>
                  <a:pt x="309068" y="0"/>
                </a:lnTo>
                <a:lnTo>
                  <a:pt x="312508" y="0"/>
                </a:lnTo>
                <a:lnTo>
                  <a:pt x="320488" y="0"/>
                </a:lnTo>
                <a:lnTo>
                  <a:pt x="320498" y="0"/>
                </a:lnTo>
                <a:lnTo>
                  <a:pt x="321084" y="0"/>
                </a:lnTo>
                <a:lnTo>
                  <a:pt x="325732" y="0"/>
                </a:lnTo>
                <a:lnTo>
                  <a:pt x="327084" y="0"/>
                </a:lnTo>
                <a:lnTo>
                  <a:pt x="327671" y="0"/>
                </a:lnTo>
                <a:lnTo>
                  <a:pt x="327680" y="0"/>
                </a:lnTo>
                <a:lnTo>
                  <a:pt x="337163" y="0"/>
                </a:lnTo>
                <a:lnTo>
                  <a:pt x="339100" y="0"/>
                </a:lnTo>
                <a:lnTo>
                  <a:pt x="343748" y="0"/>
                </a:lnTo>
                <a:lnTo>
                  <a:pt x="343759" y="0"/>
                </a:lnTo>
                <a:lnTo>
                  <a:pt x="344345" y="0"/>
                </a:lnTo>
                <a:lnTo>
                  <a:pt x="345698" y="0"/>
                </a:lnTo>
                <a:lnTo>
                  <a:pt x="360033" y="0"/>
                </a:lnTo>
                <a:lnTo>
                  <a:pt x="361682" y="0"/>
                </a:lnTo>
                <a:lnTo>
                  <a:pt x="362361" y="0"/>
                </a:lnTo>
                <a:lnTo>
                  <a:pt x="368022" y="0"/>
                </a:lnTo>
                <a:lnTo>
                  <a:pt x="368609" y="0"/>
                </a:lnTo>
                <a:lnTo>
                  <a:pt x="375205" y="0"/>
                </a:lnTo>
                <a:lnTo>
                  <a:pt x="379700" y="0"/>
                </a:lnTo>
                <a:lnTo>
                  <a:pt x="384687" y="0"/>
                </a:lnTo>
                <a:lnTo>
                  <a:pt x="386625" y="0"/>
                </a:lnTo>
                <a:lnTo>
                  <a:pt x="386635" y="0"/>
                </a:lnTo>
                <a:lnTo>
                  <a:pt x="388276" y="0"/>
                </a:lnTo>
                <a:lnTo>
                  <a:pt x="391283" y="0"/>
                </a:lnTo>
                <a:lnTo>
                  <a:pt x="391870" y="0"/>
                </a:lnTo>
                <a:lnTo>
                  <a:pt x="393223" y="0"/>
                </a:lnTo>
                <a:lnTo>
                  <a:pt x="394872" y="0"/>
                </a:lnTo>
                <a:lnTo>
                  <a:pt x="403300" y="0"/>
                </a:lnTo>
                <a:lnTo>
                  <a:pt x="409206" y="0"/>
                </a:lnTo>
                <a:lnTo>
                  <a:pt x="409886" y="0"/>
                </a:lnTo>
                <a:lnTo>
                  <a:pt x="409896" y="0"/>
                </a:lnTo>
                <a:lnTo>
                  <a:pt x="411536" y="0"/>
                </a:lnTo>
                <a:lnTo>
                  <a:pt x="420637" y="0"/>
                </a:lnTo>
                <a:lnTo>
                  <a:pt x="427224" y="0"/>
                </a:lnTo>
                <a:lnTo>
                  <a:pt x="427234" y="0"/>
                </a:lnTo>
                <a:lnTo>
                  <a:pt x="427820" y="0"/>
                </a:lnTo>
                <a:lnTo>
                  <a:pt x="434160" y="0"/>
                </a:lnTo>
                <a:lnTo>
                  <a:pt x="435800" y="0"/>
                </a:lnTo>
                <a:lnTo>
                  <a:pt x="435810" y="0"/>
                </a:lnTo>
                <a:lnTo>
                  <a:pt x="442396" y="0"/>
                </a:lnTo>
                <a:lnTo>
                  <a:pt x="443898" y="0"/>
                </a:lnTo>
                <a:lnTo>
                  <a:pt x="445836" y="0"/>
                </a:lnTo>
                <a:lnTo>
                  <a:pt x="450825" y="0"/>
                </a:lnTo>
                <a:lnTo>
                  <a:pt x="452475" y="0"/>
                </a:lnTo>
                <a:lnTo>
                  <a:pt x="453827" y="0"/>
                </a:lnTo>
                <a:lnTo>
                  <a:pt x="454412" y="0"/>
                </a:lnTo>
                <a:lnTo>
                  <a:pt x="457421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10" y="0"/>
                </a:lnTo>
                <a:lnTo>
                  <a:pt x="468161" y="0"/>
                </a:lnTo>
                <a:lnTo>
                  <a:pt x="470491" y="0"/>
                </a:lnTo>
                <a:lnTo>
                  <a:pt x="474758" y="0"/>
                </a:lnTo>
                <a:lnTo>
                  <a:pt x="475345" y="0"/>
                </a:lnTo>
                <a:lnTo>
                  <a:pt x="477087" y="0"/>
                </a:lnTo>
                <a:lnTo>
                  <a:pt x="477673" y="0"/>
                </a:lnTo>
                <a:lnTo>
                  <a:pt x="483334" y="0"/>
                </a:lnTo>
                <a:lnTo>
                  <a:pt x="486775" y="0"/>
                </a:lnTo>
                <a:lnTo>
                  <a:pt x="491423" y="0"/>
                </a:lnTo>
                <a:lnTo>
                  <a:pt x="493361" y="0"/>
                </a:lnTo>
                <a:lnTo>
                  <a:pt x="493371" y="0"/>
                </a:lnTo>
                <a:lnTo>
                  <a:pt x="495012" y="0"/>
                </a:lnTo>
                <a:lnTo>
                  <a:pt x="499999" y="0"/>
                </a:lnTo>
                <a:lnTo>
                  <a:pt x="501351" y="0"/>
                </a:lnTo>
                <a:lnTo>
                  <a:pt x="501937" y="0"/>
                </a:lnTo>
                <a:lnTo>
                  <a:pt x="501947" y="0"/>
                </a:lnTo>
                <a:lnTo>
                  <a:pt x="506595" y="0"/>
                </a:lnTo>
                <a:lnTo>
                  <a:pt x="508535" y="0"/>
                </a:lnTo>
                <a:lnTo>
                  <a:pt x="510036" y="0"/>
                </a:lnTo>
                <a:lnTo>
                  <a:pt x="518015" y="0"/>
                </a:lnTo>
                <a:lnTo>
                  <a:pt x="518026" y="0"/>
                </a:lnTo>
                <a:lnTo>
                  <a:pt x="518612" y="0"/>
                </a:lnTo>
                <a:lnTo>
                  <a:pt x="519964" y="0"/>
                </a:lnTo>
                <a:lnTo>
                  <a:pt x="524611" y="0"/>
                </a:lnTo>
                <a:lnTo>
                  <a:pt x="525198" y="0"/>
                </a:lnTo>
                <a:lnTo>
                  <a:pt x="525208" y="0"/>
                </a:lnTo>
                <a:lnTo>
                  <a:pt x="534300" y="0"/>
                </a:lnTo>
                <a:lnTo>
                  <a:pt x="535949" y="0"/>
                </a:lnTo>
                <a:lnTo>
                  <a:pt x="536628" y="0"/>
                </a:lnTo>
                <a:lnTo>
                  <a:pt x="540896" y="0"/>
                </a:lnTo>
                <a:lnTo>
                  <a:pt x="542536" y="0"/>
                </a:lnTo>
                <a:lnTo>
                  <a:pt x="542546" y="0"/>
                </a:lnTo>
                <a:lnTo>
                  <a:pt x="543225" y="0"/>
                </a:lnTo>
                <a:lnTo>
                  <a:pt x="549472" y="0"/>
                </a:lnTo>
                <a:lnTo>
                  <a:pt x="553966" y="0"/>
                </a:lnTo>
                <a:lnTo>
                  <a:pt x="557561" y="0"/>
                </a:lnTo>
                <a:lnTo>
                  <a:pt x="559210" y="0"/>
                </a:lnTo>
                <a:lnTo>
                  <a:pt x="560563" y="0"/>
                </a:lnTo>
                <a:lnTo>
                  <a:pt x="561148" y="0"/>
                </a:lnTo>
                <a:lnTo>
                  <a:pt x="565550" y="0"/>
                </a:lnTo>
                <a:lnTo>
                  <a:pt x="566137" y="0"/>
                </a:lnTo>
                <a:lnTo>
                  <a:pt x="567489" y="0"/>
                </a:lnTo>
                <a:lnTo>
                  <a:pt x="569139" y="0"/>
                </a:lnTo>
                <a:lnTo>
                  <a:pt x="572733" y="0"/>
                </a:lnTo>
                <a:lnTo>
                  <a:pt x="577227" y="0"/>
                </a:lnTo>
                <a:lnTo>
                  <a:pt x="583473" y="0"/>
                </a:lnTo>
                <a:lnTo>
                  <a:pt x="584153" y="0"/>
                </a:lnTo>
                <a:lnTo>
                  <a:pt x="584163" y="0"/>
                </a:lnTo>
                <a:lnTo>
                  <a:pt x="585803" y="0"/>
                </a:lnTo>
                <a:lnTo>
                  <a:pt x="590070" y="0"/>
                </a:lnTo>
                <a:lnTo>
                  <a:pt x="590750" y="0"/>
                </a:lnTo>
                <a:lnTo>
                  <a:pt x="592399" y="0"/>
                </a:lnTo>
                <a:lnTo>
                  <a:pt x="601490" y="0"/>
                </a:lnTo>
                <a:lnTo>
                  <a:pt x="601501" y="0"/>
                </a:lnTo>
                <a:lnTo>
                  <a:pt x="602087" y="0"/>
                </a:lnTo>
                <a:lnTo>
                  <a:pt x="606735" y="0"/>
                </a:lnTo>
                <a:lnTo>
                  <a:pt x="608087" y="0"/>
                </a:lnTo>
                <a:lnTo>
                  <a:pt x="608673" y="0"/>
                </a:lnTo>
                <a:lnTo>
                  <a:pt x="608683" y="0"/>
                </a:lnTo>
                <a:lnTo>
                  <a:pt x="616663" y="0"/>
                </a:lnTo>
                <a:lnTo>
                  <a:pt x="618165" y="0"/>
                </a:lnTo>
                <a:lnTo>
                  <a:pt x="620103" y="0"/>
                </a:lnTo>
                <a:lnTo>
                  <a:pt x="624751" y="0"/>
                </a:lnTo>
                <a:lnTo>
                  <a:pt x="624762" y="0"/>
                </a:lnTo>
                <a:lnTo>
                  <a:pt x="625348" y="0"/>
                </a:lnTo>
                <a:lnTo>
                  <a:pt x="626699" y="0"/>
                </a:lnTo>
                <a:lnTo>
                  <a:pt x="631688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9923" y="0"/>
                </a:lnTo>
                <a:lnTo>
                  <a:pt x="643364" y="0"/>
                </a:lnTo>
                <a:lnTo>
                  <a:pt x="649025" y="0"/>
                </a:lnTo>
                <a:lnTo>
                  <a:pt x="649612" y="0"/>
                </a:lnTo>
                <a:lnTo>
                  <a:pt x="651354" y="0"/>
                </a:lnTo>
                <a:lnTo>
                  <a:pt x="651940" y="0"/>
                </a:lnTo>
                <a:lnTo>
                  <a:pt x="656208" y="0"/>
                </a:lnTo>
                <a:lnTo>
                  <a:pt x="658537" y="0"/>
                </a:lnTo>
                <a:lnTo>
                  <a:pt x="665690" y="0"/>
                </a:lnTo>
                <a:lnTo>
                  <a:pt x="667628" y="0"/>
                </a:lnTo>
                <a:lnTo>
                  <a:pt x="667638" y="0"/>
                </a:lnTo>
                <a:lnTo>
                  <a:pt x="669278" y="0"/>
                </a:lnTo>
                <a:lnTo>
                  <a:pt x="672286" y="0"/>
                </a:lnTo>
                <a:lnTo>
                  <a:pt x="672873" y="0"/>
                </a:lnTo>
                <a:lnTo>
                  <a:pt x="674224" y="0"/>
                </a:lnTo>
                <a:lnTo>
                  <a:pt x="675875" y="0"/>
                </a:lnTo>
                <a:lnTo>
                  <a:pt x="680862" y="0"/>
                </a:lnTo>
                <a:lnTo>
                  <a:pt x="682801" y="0"/>
                </a:lnTo>
                <a:lnTo>
                  <a:pt x="684302" y="0"/>
                </a:lnTo>
                <a:lnTo>
                  <a:pt x="690889" y="0"/>
                </a:lnTo>
                <a:lnTo>
                  <a:pt x="690899" y="0"/>
                </a:lnTo>
                <a:lnTo>
                  <a:pt x="692539" y="0"/>
                </a:lnTo>
                <a:lnTo>
                  <a:pt x="698878" y="0"/>
                </a:lnTo>
                <a:lnTo>
                  <a:pt x="699465" y="0"/>
                </a:lnTo>
                <a:lnTo>
                  <a:pt x="699475" y="0"/>
                </a:lnTo>
                <a:lnTo>
                  <a:pt x="706062" y="0"/>
                </a:lnTo>
                <a:lnTo>
                  <a:pt x="715163" y="0"/>
                </a:lnTo>
                <a:lnTo>
                  <a:pt x="716802" y="0"/>
                </a:lnTo>
                <a:lnTo>
                  <a:pt x="716813" y="0"/>
                </a:lnTo>
                <a:lnTo>
                  <a:pt x="717492" y="0"/>
                </a:lnTo>
                <a:lnTo>
                  <a:pt x="723399" y="0"/>
                </a:lnTo>
                <a:lnTo>
                  <a:pt x="731827" y="0"/>
                </a:lnTo>
                <a:lnTo>
                  <a:pt x="733477" y="0"/>
                </a:lnTo>
                <a:lnTo>
                  <a:pt x="734829" y="0"/>
                </a:lnTo>
                <a:lnTo>
                  <a:pt x="735415" y="0"/>
                </a:lnTo>
                <a:lnTo>
                  <a:pt x="738424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7000" y="0"/>
                </a:lnTo>
                <a:lnTo>
                  <a:pt x="751494" y="0"/>
                </a:lnTo>
                <a:lnTo>
                  <a:pt x="758090" y="0"/>
                </a:lnTo>
                <a:lnTo>
                  <a:pt x="758676" y="0"/>
                </a:lnTo>
                <a:lnTo>
                  <a:pt x="764337" y="0"/>
                </a:lnTo>
                <a:lnTo>
                  <a:pt x="765017" y="0"/>
                </a:lnTo>
                <a:lnTo>
                  <a:pt x="766666" y="0"/>
                </a:lnTo>
                <a:lnTo>
                  <a:pt x="781002" y="0"/>
                </a:lnTo>
                <a:lnTo>
                  <a:pt x="782353" y="0"/>
                </a:lnTo>
                <a:lnTo>
                  <a:pt x="782940" y="0"/>
                </a:lnTo>
                <a:lnTo>
                  <a:pt x="782950" y="0"/>
                </a:lnTo>
                <a:lnTo>
                  <a:pt x="787598" y="0"/>
                </a:lnTo>
                <a:lnTo>
                  <a:pt x="789536" y="0"/>
                </a:lnTo>
                <a:lnTo>
                  <a:pt x="799018" y="0"/>
                </a:lnTo>
                <a:lnTo>
                  <a:pt x="799029" y="0"/>
                </a:lnTo>
                <a:lnTo>
                  <a:pt x="799614" y="0"/>
                </a:lnTo>
                <a:lnTo>
                  <a:pt x="800966" y="0"/>
                </a:lnTo>
                <a:lnTo>
                  <a:pt x="805614" y="0"/>
                </a:lnTo>
                <a:lnTo>
                  <a:pt x="806201" y="0"/>
                </a:lnTo>
                <a:lnTo>
                  <a:pt x="806211" y="0"/>
                </a:lnTo>
                <a:lnTo>
                  <a:pt x="814190" y="0"/>
                </a:lnTo>
                <a:lnTo>
                  <a:pt x="817631" y="0"/>
                </a:lnTo>
                <a:lnTo>
                  <a:pt x="824227" y="0"/>
                </a:lnTo>
                <a:lnTo>
                  <a:pt x="830475" y="0"/>
                </a:lnTo>
                <a:lnTo>
                  <a:pt x="832804" y="0"/>
                </a:lnTo>
                <a:lnTo>
                  <a:pt x="846553" y="0"/>
                </a:lnTo>
                <a:lnTo>
                  <a:pt x="847139" y="0"/>
                </a:lnTo>
                <a:lnTo>
                  <a:pt x="848491" y="0"/>
                </a:lnTo>
                <a:lnTo>
                  <a:pt x="850141" y="0"/>
                </a:lnTo>
                <a:lnTo>
                  <a:pt x="853736" y="0"/>
                </a:lnTo>
                <a:lnTo>
                  <a:pt x="865156" y="0"/>
                </a:lnTo>
                <a:lnTo>
                  <a:pt x="865165" y="0"/>
                </a:lnTo>
                <a:lnTo>
                  <a:pt x="866806" y="0"/>
                </a:lnTo>
                <a:lnTo>
                  <a:pt x="871752" y="0"/>
                </a:lnTo>
                <a:cubicBezTo>
                  <a:pt x="1012555" y="0"/>
                  <a:pt x="1126698" y="114144"/>
                  <a:pt x="1126698" y="254948"/>
                </a:cubicBezTo>
                <a:lnTo>
                  <a:pt x="1126697" y="254948"/>
                </a:lnTo>
                <a:cubicBezTo>
                  <a:pt x="1126697" y="395750"/>
                  <a:pt x="1012554" y="509893"/>
                  <a:pt x="871752" y="509893"/>
                </a:cubicBezTo>
                <a:lnTo>
                  <a:pt x="866807" y="509893"/>
                </a:lnTo>
                <a:lnTo>
                  <a:pt x="866805" y="509893"/>
                </a:lnTo>
                <a:lnTo>
                  <a:pt x="865168" y="509893"/>
                </a:lnTo>
                <a:lnTo>
                  <a:pt x="865164" y="509893"/>
                </a:lnTo>
                <a:lnTo>
                  <a:pt x="865155" y="509893"/>
                </a:lnTo>
                <a:lnTo>
                  <a:pt x="853736" y="509893"/>
                </a:lnTo>
                <a:lnTo>
                  <a:pt x="853735" y="509893"/>
                </a:lnTo>
                <a:lnTo>
                  <a:pt x="847139" y="509893"/>
                </a:lnTo>
                <a:lnTo>
                  <a:pt x="847138" y="509893"/>
                </a:lnTo>
                <a:lnTo>
                  <a:pt x="846553" y="509893"/>
                </a:lnTo>
                <a:lnTo>
                  <a:pt x="846552" y="509893"/>
                </a:lnTo>
                <a:lnTo>
                  <a:pt x="832805" y="509893"/>
                </a:lnTo>
                <a:lnTo>
                  <a:pt x="832803" y="509893"/>
                </a:lnTo>
                <a:lnTo>
                  <a:pt x="824229" y="509893"/>
                </a:lnTo>
                <a:lnTo>
                  <a:pt x="824227" y="509893"/>
                </a:lnTo>
                <a:lnTo>
                  <a:pt x="817633" y="509893"/>
                </a:lnTo>
                <a:lnTo>
                  <a:pt x="817629" y="509893"/>
                </a:lnTo>
                <a:lnTo>
                  <a:pt x="814190" y="509893"/>
                </a:lnTo>
                <a:lnTo>
                  <a:pt x="806213" y="509893"/>
                </a:lnTo>
                <a:lnTo>
                  <a:pt x="806210" y="509893"/>
                </a:lnTo>
                <a:lnTo>
                  <a:pt x="806200" y="509893"/>
                </a:lnTo>
                <a:lnTo>
                  <a:pt x="805614" y="509893"/>
                </a:lnTo>
                <a:lnTo>
                  <a:pt x="805613" y="509893"/>
                </a:lnTo>
                <a:lnTo>
                  <a:pt x="799616" y="509893"/>
                </a:lnTo>
                <a:lnTo>
                  <a:pt x="799613" y="509893"/>
                </a:lnTo>
                <a:lnTo>
                  <a:pt x="799030" y="509893"/>
                </a:lnTo>
                <a:lnTo>
                  <a:pt x="799028" y="509893"/>
                </a:lnTo>
                <a:lnTo>
                  <a:pt x="799018" y="509893"/>
                </a:lnTo>
                <a:lnTo>
                  <a:pt x="799017" y="509893"/>
                </a:lnTo>
                <a:lnTo>
                  <a:pt x="787598" y="509893"/>
                </a:lnTo>
                <a:lnTo>
                  <a:pt x="787597" y="509893"/>
                </a:lnTo>
                <a:lnTo>
                  <a:pt x="781002" y="509893"/>
                </a:lnTo>
                <a:lnTo>
                  <a:pt x="781001" y="509893"/>
                </a:lnTo>
                <a:lnTo>
                  <a:pt x="766668" y="509893"/>
                </a:lnTo>
                <a:lnTo>
                  <a:pt x="766666" y="509893"/>
                </a:lnTo>
                <a:lnTo>
                  <a:pt x="765016" y="509893"/>
                </a:lnTo>
                <a:lnTo>
                  <a:pt x="758678" y="509893"/>
                </a:lnTo>
                <a:lnTo>
                  <a:pt x="758675" y="509893"/>
                </a:lnTo>
                <a:lnTo>
                  <a:pt x="758092" y="509893"/>
                </a:lnTo>
                <a:lnTo>
                  <a:pt x="758089" y="509893"/>
                </a:lnTo>
                <a:lnTo>
                  <a:pt x="751495" y="509893"/>
                </a:lnTo>
                <a:lnTo>
                  <a:pt x="751493" y="509893"/>
                </a:lnTo>
                <a:lnTo>
                  <a:pt x="747000" y="509893"/>
                </a:lnTo>
                <a:lnTo>
                  <a:pt x="740075" y="509893"/>
                </a:lnTo>
                <a:lnTo>
                  <a:pt x="740073" y="509893"/>
                </a:lnTo>
                <a:lnTo>
                  <a:pt x="740063" y="509893"/>
                </a:lnTo>
                <a:lnTo>
                  <a:pt x="740062" y="509893"/>
                </a:lnTo>
                <a:lnTo>
                  <a:pt x="738424" y="509893"/>
                </a:lnTo>
                <a:lnTo>
                  <a:pt x="738423" y="509893"/>
                </a:lnTo>
                <a:lnTo>
                  <a:pt x="733478" y="509893"/>
                </a:lnTo>
                <a:lnTo>
                  <a:pt x="733477" y="509893"/>
                </a:lnTo>
                <a:lnTo>
                  <a:pt x="731827" y="509893"/>
                </a:lnTo>
                <a:lnTo>
                  <a:pt x="731826" y="509893"/>
                </a:lnTo>
                <a:lnTo>
                  <a:pt x="717493" y="509893"/>
                </a:lnTo>
                <a:lnTo>
                  <a:pt x="717491" y="509893"/>
                </a:lnTo>
                <a:lnTo>
                  <a:pt x="706061" y="509893"/>
                </a:lnTo>
                <a:lnTo>
                  <a:pt x="699477" y="509893"/>
                </a:lnTo>
                <a:lnTo>
                  <a:pt x="699475" y="509893"/>
                </a:lnTo>
                <a:lnTo>
                  <a:pt x="699464" y="509893"/>
                </a:lnTo>
                <a:lnTo>
                  <a:pt x="698878" y="509893"/>
                </a:lnTo>
                <a:lnTo>
                  <a:pt x="692540" y="509893"/>
                </a:lnTo>
                <a:lnTo>
                  <a:pt x="692538" y="509893"/>
                </a:lnTo>
                <a:lnTo>
                  <a:pt x="690901" y="509893"/>
                </a:lnTo>
                <a:lnTo>
                  <a:pt x="690898" y="509893"/>
                </a:lnTo>
                <a:lnTo>
                  <a:pt x="690888" y="509893"/>
                </a:lnTo>
                <a:lnTo>
                  <a:pt x="684304" y="509893"/>
                </a:lnTo>
                <a:lnTo>
                  <a:pt x="684301" y="509893"/>
                </a:lnTo>
                <a:lnTo>
                  <a:pt x="680862" y="509893"/>
                </a:lnTo>
                <a:lnTo>
                  <a:pt x="680861" y="509893"/>
                </a:lnTo>
                <a:lnTo>
                  <a:pt x="672873" y="509893"/>
                </a:lnTo>
                <a:lnTo>
                  <a:pt x="672872" y="509893"/>
                </a:lnTo>
                <a:lnTo>
                  <a:pt x="672286" y="509893"/>
                </a:lnTo>
                <a:lnTo>
                  <a:pt x="672285" y="509893"/>
                </a:lnTo>
                <a:lnTo>
                  <a:pt x="665690" y="509893"/>
                </a:lnTo>
                <a:lnTo>
                  <a:pt x="665689" y="509893"/>
                </a:lnTo>
                <a:lnTo>
                  <a:pt x="658538" y="509893"/>
                </a:lnTo>
                <a:lnTo>
                  <a:pt x="658536" y="509893"/>
                </a:lnTo>
                <a:lnTo>
                  <a:pt x="651942" y="509893"/>
                </a:lnTo>
                <a:lnTo>
                  <a:pt x="651939" y="509893"/>
                </a:lnTo>
                <a:lnTo>
                  <a:pt x="651356" y="509893"/>
                </a:lnTo>
                <a:lnTo>
                  <a:pt x="651354" y="509893"/>
                </a:lnTo>
                <a:lnTo>
                  <a:pt x="643366" y="509893"/>
                </a:lnTo>
                <a:lnTo>
                  <a:pt x="643363" y="509893"/>
                </a:lnTo>
                <a:lnTo>
                  <a:pt x="639923" y="509893"/>
                </a:lnTo>
                <a:lnTo>
                  <a:pt x="633339" y="509893"/>
                </a:lnTo>
                <a:lnTo>
                  <a:pt x="633337" y="509893"/>
                </a:lnTo>
                <a:lnTo>
                  <a:pt x="633327" y="509893"/>
                </a:lnTo>
                <a:lnTo>
                  <a:pt x="633326" y="509893"/>
                </a:lnTo>
                <a:lnTo>
                  <a:pt x="631688" y="509893"/>
                </a:lnTo>
                <a:lnTo>
                  <a:pt x="625349" y="509893"/>
                </a:lnTo>
                <a:lnTo>
                  <a:pt x="625347" y="509893"/>
                </a:lnTo>
                <a:lnTo>
                  <a:pt x="624763" y="509893"/>
                </a:lnTo>
                <a:lnTo>
                  <a:pt x="624761" y="509893"/>
                </a:lnTo>
                <a:lnTo>
                  <a:pt x="624751" y="509893"/>
                </a:lnTo>
                <a:lnTo>
                  <a:pt x="624750" y="509893"/>
                </a:lnTo>
                <a:lnTo>
                  <a:pt x="618166" y="509893"/>
                </a:lnTo>
                <a:lnTo>
                  <a:pt x="618165" y="509893"/>
                </a:lnTo>
                <a:lnTo>
                  <a:pt x="606735" y="509893"/>
                </a:lnTo>
                <a:lnTo>
                  <a:pt x="606734" y="509893"/>
                </a:lnTo>
                <a:lnTo>
                  <a:pt x="592402" y="509893"/>
                </a:lnTo>
                <a:lnTo>
                  <a:pt x="592399" y="509893"/>
                </a:lnTo>
                <a:lnTo>
                  <a:pt x="590749" y="509893"/>
                </a:lnTo>
                <a:lnTo>
                  <a:pt x="585805" y="509893"/>
                </a:lnTo>
                <a:lnTo>
                  <a:pt x="585802" y="509893"/>
                </a:lnTo>
                <a:lnTo>
                  <a:pt x="584165" y="509893"/>
                </a:lnTo>
                <a:lnTo>
                  <a:pt x="584163" y="509893"/>
                </a:lnTo>
                <a:lnTo>
                  <a:pt x="584152" y="509893"/>
                </a:lnTo>
                <a:lnTo>
                  <a:pt x="577228" y="509893"/>
                </a:lnTo>
                <a:lnTo>
                  <a:pt x="577226" y="509893"/>
                </a:lnTo>
                <a:lnTo>
                  <a:pt x="572733" y="509893"/>
                </a:lnTo>
                <a:lnTo>
                  <a:pt x="566137" y="509893"/>
                </a:lnTo>
                <a:lnTo>
                  <a:pt x="566136" y="509893"/>
                </a:lnTo>
                <a:lnTo>
                  <a:pt x="565550" y="509893"/>
                </a:lnTo>
                <a:lnTo>
                  <a:pt x="565549" y="509893"/>
                </a:lnTo>
                <a:lnTo>
                  <a:pt x="559211" y="509893"/>
                </a:lnTo>
                <a:lnTo>
                  <a:pt x="559210" y="509893"/>
                </a:lnTo>
                <a:lnTo>
                  <a:pt x="557561" y="509893"/>
                </a:lnTo>
                <a:lnTo>
                  <a:pt x="557560" y="509893"/>
                </a:lnTo>
                <a:lnTo>
                  <a:pt x="543226" y="509893"/>
                </a:lnTo>
                <a:lnTo>
                  <a:pt x="543224" y="509893"/>
                </a:lnTo>
                <a:lnTo>
                  <a:pt x="536630" y="509893"/>
                </a:lnTo>
                <a:lnTo>
                  <a:pt x="536627" y="509893"/>
                </a:lnTo>
                <a:lnTo>
                  <a:pt x="525210" y="509893"/>
                </a:lnTo>
                <a:lnTo>
                  <a:pt x="525208" y="509893"/>
                </a:lnTo>
                <a:lnTo>
                  <a:pt x="525197" y="509893"/>
                </a:lnTo>
                <a:lnTo>
                  <a:pt x="524611" y="509893"/>
                </a:lnTo>
                <a:lnTo>
                  <a:pt x="518614" y="509893"/>
                </a:lnTo>
                <a:lnTo>
                  <a:pt x="518611" y="509893"/>
                </a:lnTo>
                <a:lnTo>
                  <a:pt x="518027" y="509893"/>
                </a:lnTo>
                <a:lnTo>
                  <a:pt x="518025" y="509893"/>
                </a:lnTo>
                <a:lnTo>
                  <a:pt x="518015" y="509893"/>
                </a:lnTo>
                <a:lnTo>
                  <a:pt x="518014" y="509893"/>
                </a:lnTo>
                <a:lnTo>
                  <a:pt x="510037" y="509893"/>
                </a:lnTo>
                <a:lnTo>
                  <a:pt x="510035" y="509893"/>
                </a:lnTo>
                <a:lnTo>
                  <a:pt x="506595" y="509893"/>
                </a:lnTo>
                <a:lnTo>
                  <a:pt x="506594" y="509893"/>
                </a:lnTo>
                <a:lnTo>
                  <a:pt x="499999" y="509893"/>
                </a:lnTo>
                <a:lnTo>
                  <a:pt x="499998" y="509893"/>
                </a:lnTo>
                <a:lnTo>
                  <a:pt x="491423" y="509893"/>
                </a:lnTo>
                <a:lnTo>
                  <a:pt x="491422" y="509893"/>
                </a:lnTo>
                <a:lnTo>
                  <a:pt x="477675" y="509893"/>
                </a:lnTo>
                <a:lnTo>
                  <a:pt x="477672" y="509893"/>
                </a:lnTo>
                <a:lnTo>
                  <a:pt x="477090" y="509893"/>
                </a:lnTo>
                <a:lnTo>
                  <a:pt x="477087" y="509893"/>
                </a:lnTo>
                <a:lnTo>
                  <a:pt x="470493" y="509893"/>
                </a:lnTo>
                <a:lnTo>
                  <a:pt x="470490" y="509893"/>
                </a:lnTo>
                <a:lnTo>
                  <a:pt x="459072" y="509893"/>
                </a:lnTo>
                <a:lnTo>
                  <a:pt x="459070" y="509893"/>
                </a:lnTo>
                <a:lnTo>
                  <a:pt x="459060" y="509893"/>
                </a:lnTo>
                <a:lnTo>
                  <a:pt x="459059" y="509893"/>
                </a:lnTo>
                <a:lnTo>
                  <a:pt x="457421" y="509893"/>
                </a:lnTo>
                <a:lnTo>
                  <a:pt x="452476" y="509893"/>
                </a:lnTo>
                <a:lnTo>
                  <a:pt x="452474" y="509893"/>
                </a:lnTo>
                <a:lnTo>
                  <a:pt x="254947" y="509892"/>
                </a:lnTo>
                <a:cubicBezTo>
                  <a:pt x="131743" y="509892"/>
                  <a:pt x="28953" y="422502"/>
                  <a:pt x="5179" y="306327"/>
                </a:cubicBezTo>
                <a:lnTo>
                  <a:pt x="0" y="254948"/>
                </a:lnTo>
                <a:lnTo>
                  <a:pt x="5179" y="203567"/>
                </a:lnTo>
                <a:cubicBezTo>
                  <a:pt x="28953" y="87392"/>
                  <a:pt x="131743" y="0"/>
                  <a:pt x="254947" y="0"/>
                </a:cubicBezTo>
                <a:close/>
              </a:path>
            </a:pathLst>
          </a:custGeom>
          <a:noFill/>
          <a:ln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2" name="Полилиния 51"/>
          <p:cNvSpPr/>
          <p:nvPr/>
        </p:nvSpPr>
        <p:spPr>
          <a:xfrm>
            <a:off x="1795663" y="3538546"/>
            <a:ext cx="1116241" cy="439609"/>
          </a:xfrm>
          <a:custGeom>
            <a:avLst/>
            <a:gdLst>
              <a:gd name="connsiteX0" fmla="*/ 254948 w 1372688"/>
              <a:gd name="connsiteY0" fmla="*/ 0 h 509893"/>
              <a:gd name="connsiteX1" fmla="*/ 261533 w 1372688"/>
              <a:gd name="connsiteY1" fmla="*/ 0 h 509893"/>
              <a:gd name="connsiteX2" fmla="*/ 261544 w 1372688"/>
              <a:gd name="connsiteY2" fmla="*/ 0 h 509893"/>
              <a:gd name="connsiteX3" fmla="*/ 278208 w 1372688"/>
              <a:gd name="connsiteY3" fmla="*/ 0 h 509893"/>
              <a:gd name="connsiteX4" fmla="*/ 280146 w 1372688"/>
              <a:gd name="connsiteY4" fmla="*/ 0 h 509893"/>
              <a:gd name="connsiteX5" fmla="*/ 302471 w 1372688"/>
              <a:gd name="connsiteY5" fmla="*/ 0 h 509893"/>
              <a:gd name="connsiteX6" fmla="*/ 309068 w 1372688"/>
              <a:gd name="connsiteY6" fmla="*/ 0 h 509893"/>
              <a:gd name="connsiteX7" fmla="*/ 321084 w 1372688"/>
              <a:gd name="connsiteY7" fmla="*/ 0 h 509893"/>
              <a:gd name="connsiteX8" fmla="*/ 325732 w 1372688"/>
              <a:gd name="connsiteY8" fmla="*/ 0 h 509893"/>
              <a:gd name="connsiteX9" fmla="*/ 327671 w 1372688"/>
              <a:gd name="connsiteY9" fmla="*/ 0 h 509893"/>
              <a:gd name="connsiteX10" fmla="*/ 327680 w 1372688"/>
              <a:gd name="connsiteY10" fmla="*/ 0 h 509893"/>
              <a:gd name="connsiteX11" fmla="*/ 344345 w 1372688"/>
              <a:gd name="connsiteY11" fmla="*/ 0 h 509893"/>
              <a:gd name="connsiteX12" fmla="*/ 361682 w 1372688"/>
              <a:gd name="connsiteY12" fmla="*/ 0 h 509893"/>
              <a:gd name="connsiteX13" fmla="*/ 368609 w 1372688"/>
              <a:gd name="connsiteY13" fmla="*/ 0 h 509893"/>
              <a:gd name="connsiteX14" fmla="*/ 375205 w 1372688"/>
              <a:gd name="connsiteY14" fmla="*/ 0 h 509893"/>
              <a:gd name="connsiteX15" fmla="*/ 385626 w 1372688"/>
              <a:gd name="connsiteY15" fmla="*/ 0 h 509893"/>
              <a:gd name="connsiteX16" fmla="*/ 388276 w 1372688"/>
              <a:gd name="connsiteY16" fmla="*/ 0 h 509893"/>
              <a:gd name="connsiteX17" fmla="*/ 391870 w 1372688"/>
              <a:gd name="connsiteY17" fmla="*/ 0 h 509893"/>
              <a:gd name="connsiteX18" fmla="*/ 392211 w 1372688"/>
              <a:gd name="connsiteY18" fmla="*/ 0 h 509893"/>
              <a:gd name="connsiteX19" fmla="*/ 392222 w 1372688"/>
              <a:gd name="connsiteY19" fmla="*/ 0 h 509893"/>
              <a:gd name="connsiteX20" fmla="*/ 394872 w 1372688"/>
              <a:gd name="connsiteY20" fmla="*/ 0 h 509893"/>
              <a:gd name="connsiteX21" fmla="*/ 408886 w 1372688"/>
              <a:gd name="connsiteY21" fmla="*/ 0 h 509893"/>
              <a:gd name="connsiteX22" fmla="*/ 409206 w 1372688"/>
              <a:gd name="connsiteY22" fmla="*/ 0 h 509893"/>
              <a:gd name="connsiteX23" fmla="*/ 410824 w 1372688"/>
              <a:gd name="connsiteY23" fmla="*/ 0 h 509893"/>
              <a:gd name="connsiteX24" fmla="*/ 411536 w 1372688"/>
              <a:gd name="connsiteY24" fmla="*/ 0 h 509893"/>
              <a:gd name="connsiteX25" fmla="*/ 427820 w 1372688"/>
              <a:gd name="connsiteY25" fmla="*/ 0 h 509893"/>
              <a:gd name="connsiteX26" fmla="*/ 433149 w 1372688"/>
              <a:gd name="connsiteY26" fmla="*/ 0 h 509893"/>
              <a:gd name="connsiteX27" fmla="*/ 435800 w 1372688"/>
              <a:gd name="connsiteY27" fmla="*/ 0 h 509893"/>
              <a:gd name="connsiteX28" fmla="*/ 435810 w 1372688"/>
              <a:gd name="connsiteY28" fmla="*/ 0 h 509893"/>
              <a:gd name="connsiteX29" fmla="*/ 439746 w 1372688"/>
              <a:gd name="connsiteY29" fmla="*/ 0 h 509893"/>
              <a:gd name="connsiteX30" fmla="*/ 442396 w 1372688"/>
              <a:gd name="connsiteY30" fmla="*/ 0 h 509893"/>
              <a:gd name="connsiteX31" fmla="*/ 451762 w 1372688"/>
              <a:gd name="connsiteY31" fmla="*/ 0 h 509893"/>
              <a:gd name="connsiteX32" fmla="*/ 452475 w 1372688"/>
              <a:gd name="connsiteY32" fmla="*/ 0 h 509893"/>
              <a:gd name="connsiteX33" fmla="*/ 454412 w 1372688"/>
              <a:gd name="connsiteY33" fmla="*/ 0 h 509893"/>
              <a:gd name="connsiteX34" fmla="*/ 456410 w 1372688"/>
              <a:gd name="connsiteY34" fmla="*/ 0 h 509893"/>
              <a:gd name="connsiteX35" fmla="*/ 458349 w 1372688"/>
              <a:gd name="connsiteY35" fmla="*/ 0 h 509893"/>
              <a:gd name="connsiteX36" fmla="*/ 458358 w 1372688"/>
              <a:gd name="connsiteY36" fmla="*/ 0 h 509893"/>
              <a:gd name="connsiteX37" fmla="*/ 459060 w 1372688"/>
              <a:gd name="connsiteY37" fmla="*/ 0 h 509893"/>
              <a:gd name="connsiteX38" fmla="*/ 459071 w 1372688"/>
              <a:gd name="connsiteY38" fmla="*/ 0 h 509893"/>
              <a:gd name="connsiteX39" fmla="*/ 461010 w 1372688"/>
              <a:gd name="connsiteY39" fmla="*/ 0 h 509893"/>
              <a:gd name="connsiteX40" fmla="*/ 475023 w 1372688"/>
              <a:gd name="connsiteY40" fmla="*/ 0 h 509893"/>
              <a:gd name="connsiteX41" fmla="*/ 475345 w 1372688"/>
              <a:gd name="connsiteY41" fmla="*/ 0 h 509893"/>
              <a:gd name="connsiteX42" fmla="*/ 477673 w 1372688"/>
              <a:gd name="connsiteY42" fmla="*/ 0 h 509893"/>
              <a:gd name="connsiteX43" fmla="*/ 483334 w 1372688"/>
              <a:gd name="connsiteY43" fmla="*/ 0 h 509893"/>
              <a:gd name="connsiteX44" fmla="*/ 492360 w 1372688"/>
              <a:gd name="connsiteY44" fmla="*/ 0 h 509893"/>
              <a:gd name="connsiteX45" fmla="*/ 495012 w 1372688"/>
              <a:gd name="connsiteY45" fmla="*/ 0 h 509893"/>
              <a:gd name="connsiteX46" fmla="*/ 499287 w 1372688"/>
              <a:gd name="connsiteY46" fmla="*/ 0 h 509893"/>
              <a:gd name="connsiteX47" fmla="*/ 499999 w 1372688"/>
              <a:gd name="connsiteY47" fmla="*/ 0 h 509893"/>
              <a:gd name="connsiteX48" fmla="*/ 501937 w 1372688"/>
              <a:gd name="connsiteY48" fmla="*/ 0 h 509893"/>
              <a:gd name="connsiteX49" fmla="*/ 501947 w 1372688"/>
              <a:gd name="connsiteY49" fmla="*/ 0 h 509893"/>
              <a:gd name="connsiteX50" fmla="*/ 505883 w 1372688"/>
              <a:gd name="connsiteY50" fmla="*/ 0 h 509893"/>
              <a:gd name="connsiteX51" fmla="*/ 506595 w 1372688"/>
              <a:gd name="connsiteY51" fmla="*/ 0 h 509893"/>
              <a:gd name="connsiteX52" fmla="*/ 508535 w 1372688"/>
              <a:gd name="connsiteY52" fmla="*/ 0 h 509893"/>
              <a:gd name="connsiteX53" fmla="*/ 518612 w 1372688"/>
              <a:gd name="connsiteY53" fmla="*/ 0 h 509893"/>
              <a:gd name="connsiteX54" fmla="*/ 518954 w 1372688"/>
              <a:gd name="connsiteY54" fmla="*/ 0 h 509893"/>
              <a:gd name="connsiteX55" fmla="*/ 522548 w 1372688"/>
              <a:gd name="connsiteY55" fmla="*/ 0 h 509893"/>
              <a:gd name="connsiteX56" fmla="*/ 525198 w 1372688"/>
              <a:gd name="connsiteY56" fmla="*/ 0 h 509893"/>
              <a:gd name="connsiteX57" fmla="*/ 525208 w 1372688"/>
              <a:gd name="connsiteY57" fmla="*/ 0 h 509893"/>
              <a:gd name="connsiteX58" fmla="*/ 525550 w 1372688"/>
              <a:gd name="connsiteY58" fmla="*/ 0 h 509893"/>
              <a:gd name="connsiteX59" fmla="*/ 535949 w 1372688"/>
              <a:gd name="connsiteY59" fmla="*/ 0 h 509893"/>
              <a:gd name="connsiteX60" fmla="*/ 539884 w 1372688"/>
              <a:gd name="connsiteY60" fmla="*/ 0 h 509893"/>
              <a:gd name="connsiteX61" fmla="*/ 542214 w 1372688"/>
              <a:gd name="connsiteY61" fmla="*/ 0 h 509893"/>
              <a:gd name="connsiteX62" fmla="*/ 542536 w 1372688"/>
              <a:gd name="connsiteY62" fmla="*/ 0 h 509893"/>
              <a:gd name="connsiteX63" fmla="*/ 542547 w 1372688"/>
              <a:gd name="connsiteY63" fmla="*/ 0 h 509893"/>
              <a:gd name="connsiteX64" fmla="*/ 549472 w 1372688"/>
              <a:gd name="connsiteY64" fmla="*/ 0 h 509893"/>
              <a:gd name="connsiteX65" fmla="*/ 558498 w 1372688"/>
              <a:gd name="connsiteY65" fmla="*/ 0 h 509893"/>
              <a:gd name="connsiteX66" fmla="*/ 559210 w 1372688"/>
              <a:gd name="connsiteY66" fmla="*/ 0 h 509893"/>
              <a:gd name="connsiteX67" fmla="*/ 561148 w 1372688"/>
              <a:gd name="connsiteY67" fmla="*/ 0 h 509893"/>
              <a:gd name="connsiteX68" fmla="*/ 566137 w 1372688"/>
              <a:gd name="connsiteY68" fmla="*/ 0 h 509893"/>
              <a:gd name="connsiteX69" fmla="*/ 566478 w 1372688"/>
              <a:gd name="connsiteY69" fmla="*/ 0 h 509893"/>
              <a:gd name="connsiteX70" fmla="*/ 566488 w 1372688"/>
              <a:gd name="connsiteY70" fmla="*/ 0 h 509893"/>
              <a:gd name="connsiteX71" fmla="*/ 569139 w 1372688"/>
              <a:gd name="connsiteY71" fmla="*/ 0 h 509893"/>
              <a:gd name="connsiteX72" fmla="*/ 572733 w 1372688"/>
              <a:gd name="connsiteY72" fmla="*/ 0 h 509893"/>
              <a:gd name="connsiteX73" fmla="*/ 573074 w 1372688"/>
              <a:gd name="connsiteY73" fmla="*/ 0 h 509893"/>
              <a:gd name="connsiteX74" fmla="*/ 583153 w 1372688"/>
              <a:gd name="connsiteY74" fmla="*/ 0 h 509893"/>
              <a:gd name="connsiteX75" fmla="*/ 583473 w 1372688"/>
              <a:gd name="connsiteY75" fmla="*/ 0 h 509893"/>
              <a:gd name="connsiteX76" fmla="*/ 585090 w 1372688"/>
              <a:gd name="connsiteY76" fmla="*/ 0 h 509893"/>
              <a:gd name="connsiteX77" fmla="*/ 585803 w 1372688"/>
              <a:gd name="connsiteY77" fmla="*/ 0 h 509893"/>
              <a:gd name="connsiteX78" fmla="*/ 589738 w 1372688"/>
              <a:gd name="connsiteY78" fmla="*/ 0 h 509893"/>
              <a:gd name="connsiteX79" fmla="*/ 589749 w 1372688"/>
              <a:gd name="connsiteY79" fmla="*/ 0 h 509893"/>
              <a:gd name="connsiteX80" fmla="*/ 590070 w 1372688"/>
              <a:gd name="connsiteY80" fmla="*/ 0 h 509893"/>
              <a:gd name="connsiteX81" fmla="*/ 591688 w 1372688"/>
              <a:gd name="connsiteY81" fmla="*/ 0 h 509893"/>
              <a:gd name="connsiteX82" fmla="*/ 592399 w 1372688"/>
              <a:gd name="connsiteY82" fmla="*/ 0 h 509893"/>
              <a:gd name="connsiteX83" fmla="*/ 602087 w 1372688"/>
              <a:gd name="connsiteY83" fmla="*/ 0 h 509893"/>
              <a:gd name="connsiteX84" fmla="*/ 606023 w 1372688"/>
              <a:gd name="connsiteY84" fmla="*/ 0 h 509893"/>
              <a:gd name="connsiteX85" fmla="*/ 606735 w 1372688"/>
              <a:gd name="connsiteY85" fmla="*/ 0 h 509893"/>
              <a:gd name="connsiteX86" fmla="*/ 608351 w 1372688"/>
              <a:gd name="connsiteY86" fmla="*/ 0 h 509893"/>
              <a:gd name="connsiteX87" fmla="*/ 608673 w 1372688"/>
              <a:gd name="connsiteY87" fmla="*/ 0 h 509893"/>
              <a:gd name="connsiteX88" fmla="*/ 608683 w 1372688"/>
              <a:gd name="connsiteY88" fmla="*/ 0 h 509893"/>
              <a:gd name="connsiteX89" fmla="*/ 614012 w 1372688"/>
              <a:gd name="connsiteY89" fmla="*/ 0 h 509893"/>
              <a:gd name="connsiteX90" fmla="*/ 616663 w 1372688"/>
              <a:gd name="connsiteY90" fmla="*/ 0 h 509893"/>
              <a:gd name="connsiteX91" fmla="*/ 625348 w 1372688"/>
              <a:gd name="connsiteY91" fmla="*/ 0 h 509893"/>
              <a:gd name="connsiteX92" fmla="*/ 625690 w 1372688"/>
              <a:gd name="connsiteY92" fmla="*/ 0 h 509893"/>
              <a:gd name="connsiteX93" fmla="*/ 630677 w 1372688"/>
              <a:gd name="connsiteY93" fmla="*/ 0 h 509893"/>
              <a:gd name="connsiteX94" fmla="*/ 632615 w 1372688"/>
              <a:gd name="connsiteY94" fmla="*/ 0 h 509893"/>
              <a:gd name="connsiteX95" fmla="*/ 632625 w 1372688"/>
              <a:gd name="connsiteY95" fmla="*/ 0 h 509893"/>
              <a:gd name="connsiteX96" fmla="*/ 633327 w 1372688"/>
              <a:gd name="connsiteY96" fmla="*/ 0 h 509893"/>
              <a:gd name="connsiteX97" fmla="*/ 633338 w 1372688"/>
              <a:gd name="connsiteY97" fmla="*/ 0 h 509893"/>
              <a:gd name="connsiteX98" fmla="*/ 635276 w 1372688"/>
              <a:gd name="connsiteY98" fmla="*/ 0 h 509893"/>
              <a:gd name="connsiteX99" fmla="*/ 637273 w 1372688"/>
              <a:gd name="connsiteY99" fmla="*/ 0 h 509893"/>
              <a:gd name="connsiteX100" fmla="*/ 639213 w 1372688"/>
              <a:gd name="connsiteY100" fmla="*/ 0 h 509893"/>
              <a:gd name="connsiteX101" fmla="*/ 639923 w 1372688"/>
              <a:gd name="connsiteY101" fmla="*/ 0 h 509893"/>
              <a:gd name="connsiteX102" fmla="*/ 649290 w 1372688"/>
              <a:gd name="connsiteY102" fmla="*/ 0 h 509893"/>
              <a:gd name="connsiteX103" fmla="*/ 649612 w 1372688"/>
              <a:gd name="connsiteY103" fmla="*/ 0 h 509893"/>
              <a:gd name="connsiteX104" fmla="*/ 651940 w 1372688"/>
              <a:gd name="connsiteY104" fmla="*/ 0 h 509893"/>
              <a:gd name="connsiteX105" fmla="*/ 655876 w 1372688"/>
              <a:gd name="connsiteY105" fmla="*/ 0 h 509893"/>
              <a:gd name="connsiteX106" fmla="*/ 655886 w 1372688"/>
              <a:gd name="connsiteY106" fmla="*/ 0 h 509893"/>
              <a:gd name="connsiteX107" fmla="*/ 656208 w 1372688"/>
              <a:gd name="connsiteY107" fmla="*/ 0 h 509893"/>
              <a:gd name="connsiteX108" fmla="*/ 658537 w 1372688"/>
              <a:gd name="connsiteY108" fmla="*/ 0 h 509893"/>
              <a:gd name="connsiteX109" fmla="*/ 666627 w 1372688"/>
              <a:gd name="connsiteY109" fmla="*/ 0 h 509893"/>
              <a:gd name="connsiteX110" fmla="*/ 669278 w 1372688"/>
              <a:gd name="connsiteY110" fmla="*/ 0 h 509893"/>
              <a:gd name="connsiteX111" fmla="*/ 672873 w 1372688"/>
              <a:gd name="connsiteY111" fmla="*/ 0 h 509893"/>
              <a:gd name="connsiteX112" fmla="*/ 673214 w 1372688"/>
              <a:gd name="connsiteY112" fmla="*/ 0 h 509893"/>
              <a:gd name="connsiteX113" fmla="*/ 673225 w 1372688"/>
              <a:gd name="connsiteY113" fmla="*/ 0 h 509893"/>
              <a:gd name="connsiteX114" fmla="*/ 675875 w 1372688"/>
              <a:gd name="connsiteY114" fmla="*/ 0 h 509893"/>
              <a:gd name="connsiteX115" fmla="*/ 680150 w 1372688"/>
              <a:gd name="connsiteY115" fmla="*/ 0 h 509893"/>
              <a:gd name="connsiteX116" fmla="*/ 680862 w 1372688"/>
              <a:gd name="connsiteY116" fmla="*/ 0 h 509893"/>
              <a:gd name="connsiteX117" fmla="*/ 682801 w 1372688"/>
              <a:gd name="connsiteY117" fmla="*/ 0 h 509893"/>
              <a:gd name="connsiteX118" fmla="*/ 689888 w 1372688"/>
              <a:gd name="connsiteY118" fmla="*/ 0 h 509893"/>
              <a:gd name="connsiteX119" fmla="*/ 691826 w 1372688"/>
              <a:gd name="connsiteY119" fmla="*/ 0 h 509893"/>
              <a:gd name="connsiteX120" fmla="*/ 692539 w 1372688"/>
              <a:gd name="connsiteY120" fmla="*/ 0 h 509893"/>
              <a:gd name="connsiteX121" fmla="*/ 696815 w 1372688"/>
              <a:gd name="connsiteY121" fmla="*/ 0 h 509893"/>
              <a:gd name="connsiteX122" fmla="*/ 699465 w 1372688"/>
              <a:gd name="connsiteY122" fmla="*/ 0 h 509893"/>
              <a:gd name="connsiteX123" fmla="*/ 699475 w 1372688"/>
              <a:gd name="connsiteY123" fmla="*/ 0 h 509893"/>
              <a:gd name="connsiteX124" fmla="*/ 699817 w 1372688"/>
              <a:gd name="connsiteY124" fmla="*/ 0 h 509893"/>
              <a:gd name="connsiteX125" fmla="*/ 703411 w 1372688"/>
              <a:gd name="connsiteY125" fmla="*/ 0 h 509893"/>
              <a:gd name="connsiteX126" fmla="*/ 706062 w 1372688"/>
              <a:gd name="connsiteY126" fmla="*/ 0 h 509893"/>
              <a:gd name="connsiteX127" fmla="*/ 714151 w 1372688"/>
              <a:gd name="connsiteY127" fmla="*/ 0 h 509893"/>
              <a:gd name="connsiteX128" fmla="*/ 716481 w 1372688"/>
              <a:gd name="connsiteY128" fmla="*/ 0 h 509893"/>
              <a:gd name="connsiteX129" fmla="*/ 716802 w 1372688"/>
              <a:gd name="connsiteY129" fmla="*/ 0 h 509893"/>
              <a:gd name="connsiteX130" fmla="*/ 716813 w 1372688"/>
              <a:gd name="connsiteY130" fmla="*/ 0 h 509893"/>
              <a:gd name="connsiteX131" fmla="*/ 720748 w 1372688"/>
              <a:gd name="connsiteY131" fmla="*/ 0 h 509893"/>
              <a:gd name="connsiteX132" fmla="*/ 723077 w 1372688"/>
              <a:gd name="connsiteY132" fmla="*/ 0 h 509893"/>
              <a:gd name="connsiteX133" fmla="*/ 723399 w 1372688"/>
              <a:gd name="connsiteY133" fmla="*/ 0 h 509893"/>
              <a:gd name="connsiteX134" fmla="*/ 732765 w 1372688"/>
              <a:gd name="connsiteY134" fmla="*/ 0 h 509893"/>
              <a:gd name="connsiteX135" fmla="*/ 733477 w 1372688"/>
              <a:gd name="connsiteY135" fmla="*/ 0 h 509893"/>
              <a:gd name="connsiteX136" fmla="*/ 735415 w 1372688"/>
              <a:gd name="connsiteY136" fmla="*/ 0 h 509893"/>
              <a:gd name="connsiteX137" fmla="*/ 737413 w 1372688"/>
              <a:gd name="connsiteY137" fmla="*/ 0 h 509893"/>
              <a:gd name="connsiteX138" fmla="*/ 739351 w 1372688"/>
              <a:gd name="connsiteY138" fmla="*/ 0 h 509893"/>
              <a:gd name="connsiteX139" fmla="*/ 739361 w 1372688"/>
              <a:gd name="connsiteY139" fmla="*/ 0 h 509893"/>
              <a:gd name="connsiteX140" fmla="*/ 740063 w 1372688"/>
              <a:gd name="connsiteY140" fmla="*/ 0 h 509893"/>
              <a:gd name="connsiteX141" fmla="*/ 740074 w 1372688"/>
              <a:gd name="connsiteY141" fmla="*/ 0 h 509893"/>
              <a:gd name="connsiteX142" fmla="*/ 742011 w 1372688"/>
              <a:gd name="connsiteY142" fmla="*/ 0 h 509893"/>
              <a:gd name="connsiteX143" fmla="*/ 747000 w 1372688"/>
              <a:gd name="connsiteY143" fmla="*/ 0 h 509893"/>
              <a:gd name="connsiteX144" fmla="*/ 747341 w 1372688"/>
              <a:gd name="connsiteY144" fmla="*/ 0 h 509893"/>
              <a:gd name="connsiteX145" fmla="*/ 756026 w 1372688"/>
              <a:gd name="connsiteY145" fmla="*/ 0 h 509893"/>
              <a:gd name="connsiteX146" fmla="*/ 758676 w 1372688"/>
              <a:gd name="connsiteY146" fmla="*/ 0 h 509893"/>
              <a:gd name="connsiteX147" fmla="*/ 764005 w 1372688"/>
              <a:gd name="connsiteY147" fmla="*/ 0 h 509893"/>
              <a:gd name="connsiteX148" fmla="*/ 764016 w 1372688"/>
              <a:gd name="connsiteY148" fmla="*/ 0 h 509893"/>
              <a:gd name="connsiteX149" fmla="*/ 764337 w 1372688"/>
              <a:gd name="connsiteY149" fmla="*/ 0 h 509893"/>
              <a:gd name="connsiteX150" fmla="*/ 765954 w 1372688"/>
              <a:gd name="connsiteY150" fmla="*/ 0 h 509893"/>
              <a:gd name="connsiteX151" fmla="*/ 766666 w 1372688"/>
              <a:gd name="connsiteY151" fmla="*/ 0 h 509893"/>
              <a:gd name="connsiteX152" fmla="*/ 770601 w 1372688"/>
              <a:gd name="connsiteY152" fmla="*/ 0 h 509893"/>
              <a:gd name="connsiteX153" fmla="*/ 780290 w 1372688"/>
              <a:gd name="connsiteY153" fmla="*/ 0 h 509893"/>
              <a:gd name="connsiteX154" fmla="*/ 781002 w 1372688"/>
              <a:gd name="connsiteY154" fmla="*/ 0 h 509893"/>
              <a:gd name="connsiteX155" fmla="*/ 782618 w 1372688"/>
              <a:gd name="connsiteY155" fmla="*/ 0 h 509893"/>
              <a:gd name="connsiteX156" fmla="*/ 782940 w 1372688"/>
              <a:gd name="connsiteY156" fmla="*/ 0 h 509893"/>
              <a:gd name="connsiteX157" fmla="*/ 782950 w 1372688"/>
              <a:gd name="connsiteY157" fmla="*/ 0 h 509893"/>
              <a:gd name="connsiteX158" fmla="*/ 786886 w 1372688"/>
              <a:gd name="connsiteY158" fmla="*/ 0 h 509893"/>
              <a:gd name="connsiteX159" fmla="*/ 787598 w 1372688"/>
              <a:gd name="connsiteY159" fmla="*/ 0 h 509893"/>
              <a:gd name="connsiteX160" fmla="*/ 789215 w 1372688"/>
              <a:gd name="connsiteY160" fmla="*/ 0 h 509893"/>
              <a:gd name="connsiteX161" fmla="*/ 789536 w 1372688"/>
              <a:gd name="connsiteY161" fmla="*/ 0 h 509893"/>
              <a:gd name="connsiteX162" fmla="*/ 799614 w 1372688"/>
              <a:gd name="connsiteY162" fmla="*/ 0 h 509893"/>
              <a:gd name="connsiteX163" fmla="*/ 799956 w 1372688"/>
              <a:gd name="connsiteY163" fmla="*/ 0 h 509893"/>
              <a:gd name="connsiteX164" fmla="*/ 803551 w 1372688"/>
              <a:gd name="connsiteY164" fmla="*/ 0 h 509893"/>
              <a:gd name="connsiteX165" fmla="*/ 806201 w 1372688"/>
              <a:gd name="connsiteY165" fmla="*/ 0 h 509893"/>
              <a:gd name="connsiteX166" fmla="*/ 806211 w 1372688"/>
              <a:gd name="connsiteY166" fmla="*/ 0 h 509893"/>
              <a:gd name="connsiteX167" fmla="*/ 806553 w 1372688"/>
              <a:gd name="connsiteY167" fmla="*/ 0 h 509893"/>
              <a:gd name="connsiteX168" fmla="*/ 811540 w 1372688"/>
              <a:gd name="connsiteY168" fmla="*/ 0 h 509893"/>
              <a:gd name="connsiteX169" fmla="*/ 813479 w 1372688"/>
              <a:gd name="connsiteY169" fmla="*/ 0 h 509893"/>
              <a:gd name="connsiteX170" fmla="*/ 814190 w 1372688"/>
              <a:gd name="connsiteY170" fmla="*/ 0 h 509893"/>
              <a:gd name="connsiteX171" fmla="*/ 823217 w 1372688"/>
              <a:gd name="connsiteY171" fmla="*/ 0 h 509893"/>
              <a:gd name="connsiteX172" fmla="*/ 830143 w 1372688"/>
              <a:gd name="connsiteY172" fmla="*/ 0 h 509893"/>
              <a:gd name="connsiteX173" fmla="*/ 830153 w 1372688"/>
              <a:gd name="connsiteY173" fmla="*/ 0 h 509893"/>
              <a:gd name="connsiteX174" fmla="*/ 830475 w 1372688"/>
              <a:gd name="connsiteY174" fmla="*/ 0 h 509893"/>
              <a:gd name="connsiteX175" fmla="*/ 832804 w 1372688"/>
              <a:gd name="connsiteY175" fmla="*/ 0 h 509893"/>
              <a:gd name="connsiteX176" fmla="*/ 836740 w 1372688"/>
              <a:gd name="connsiteY176" fmla="*/ 0 h 509893"/>
              <a:gd name="connsiteX177" fmla="*/ 847140 w 1372688"/>
              <a:gd name="connsiteY177" fmla="*/ 0 h 509893"/>
              <a:gd name="connsiteX178" fmla="*/ 847480 w 1372688"/>
              <a:gd name="connsiteY178" fmla="*/ 0 h 509893"/>
              <a:gd name="connsiteX179" fmla="*/ 847491 w 1372688"/>
              <a:gd name="connsiteY179" fmla="*/ 0 h 509893"/>
              <a:gd name="connsiteX180" fmla="*/ 850141 w 1372688"/>
              <a:gd name="connsiteY180" fmla="*/ 0 h 509893"/>
              <a:gd name="connsiteX181" fmla="*/ 853736 w 1372688"/>
              <a:gd name="connsiteY181" fmla="*/ 0 h 509893"/>
              <a:gd name="connsiteX182" fmla="*/ 854077 w 1372688"/>
              <a:gd name="connsiteY182" fmla="*/ 0 h 509893"/>
              <a:gd name="connsiteX183" fmla="*/ 864155 w 1372688"/>
              <a:gd name="connsiteY183" fmla="*/ 0 h 509893"/>
              <a:gd name="connsiteX184" fmla="*/ 866093 w 1372688"/>
              <a:gd name="connsiteY184" fmla="*/ 0 h 509893"/>
              <a:gd name="connsiteX185" fmla="*/ 866806 w 1372688"/>
              <a:gd name="connsiteY185" fmla="*/ 0 h 509893"/>
              <a:gd name="connsiteX186" fmla="*/ 870741 w 1372688"/>
              <a:gd name="connsiteY186" fmla="*/ 0 h 509893"/>
              <a:gd name="connsiteX187" fmla="*/ 870752 w 1372688"/>
              <a:gd name="connsiteY187" fmla="*/ 0 h 509893"/>
              <a:gd name="connsiteX188" fmla="*/ 872689 w 1372688"/>
              <a:gd name="connsiteY188" fmla="*/ 0 h 509893"/>
              <a:gd name="connsiteX189" fmla="*/ 873402 w 1372688"/>
              <a:gd name="connsiteY189" fmla="*/ 0 h 509893"/>
              <a:gd name="connsiteX190" fmla="*/ 877678 w 1372688"/>
              <a:gd name="connsiteY190" fmla="*/ 0 h 509893"/>
              <a:gd name="connsiteX191" fmla="*/ 880329 w 1372688"/>
              <a:gd name="connsiteY191" fmla="*/ 0 h 509893"/>
              <a:gd name="connsiteX192" fmla="*/ 889354 w 1372688"/>
              <a:gd name="connsiteY192" fmla="*/ 0 h 509893"/>
              <a:gd name="connsiteX193" fmla="*/ 895015 w 1372688"/>
              <a:gd name="connsiteY193" fmla="*/ 0 h 509893"/>
              <a:gd name="connsiteX194" fmla="*/ 897344 w 1372688"/>
              <a:gd name="connsiteY194" fmla="*/ 0 h 509893"/>
              <a:gd name="connsiteX195" fmla="*/ 897665 w 1372688"/>
              <a:gd name="connsiteY195" fmla="*/ 0 h 509893"/>
              <a:gd name="connsiteX196" fmla="*/ 911680 w 1372688"/>
              <a:gd name="connsiteY196" fmla="*/ 0 h 509893"/>
              <a:gd name="connsiteX197" fmla="*/ 913618 w 1372688"/>
              <a:gd name="connsiteY197" fmla="*/ 0 h 509893"/>
              <a:gd name="connsiteX198" fmla="*/ 913628 w 1372688"/>
              <a:gd name="connsiteY198" fmla="*/ 0 h 509893"/>
              <a:gd name="connsiteX199" fmla="*/ 914330 w 1372688"/>
              <a:gd name="connsiteY199" fmla="*/ 0 h 509893"/>
              <a:gd name="connsiteX200" fmla="*/ 914341 w 1372688"/>
              <a:gd name="connsiteY200" fmla="*/ 0 h 509893"/>
              <a:gd name="connsiteX201" fmla="*/ 916278 w 1372688"/>
              <a:gd name="connsiteY201" fmla="*/ 0 h 509893"/>
              <a:gd name="connsiteX202" fmla="*/ 918276 w 1372688"/>
              <a:gd name="connsiteY202" fmla="*/ 0 h 509893"/>
              <a:gd name="connsiteX203" fmla="*/ 920214 w 1372688"/>
              <a:gd name="connsiteY203" fmla="*/ 0 h 509893"/>
              <a:gd name="connsiteX204" fmla="*/ 920926 w 1372688"/>
              <a:gd name="connsiteY204" fmla="*/ 0 h 509893"/>
              <a:gd name="connsiteX205" fmla="*/ 930292 w 1372688"/>
              <a:gd name="connsiteY205" fmla="*/ 0 h 509893"/>
              <a:gd name="connsiteX206" fmla="*/ 932943 w 1372688"/>
              <a:gd name="connsiteY206" fmla="*/ 0 h 509893"/>
              <a:gd name="connsiteX207" fmla="*/ 936879 w 1372688"/>
              <a:gd name="connsiteY207" fmla="*/ 0 h 509893"/>
              <a:gd name="connsiteX208" fmla="*/ 936889 w 1372688"/>
              <a:gd name="connsiteY208" fmla="*/ 0 h 509893"/>
              <a:gd name="connsiteX209" fmla="*/ 939539 w 1372688"/>
              <a:gd name="connsiteY209" fmla="*/ 0 h 509893"/>
              <a:gd name="connsiteX210" fmla="*/ 944868 w 1372688"/>
              <a:gd name="connsiteY210" fmla="*/ 0 h 509893"/>
              <a:gd name="connsiteX211" fmla="*/ 961153 w 1372688"/>
              <a:gd name="connsiteY211" fmla="*/ 0 h 509893"/>
              <a:gd name="connsiteX212" fmla="*/ 961865 w 1372688"/>
              <a:gd name="connsiteY212" fmla="*/ 0 h 509893"/>
              <a:gd name="connsiteX213" fmla="*/ 963482 w 1372688"/>
              <a:gd name="connsiteY213" fmla="*/ 0 h 509893"/>
              <a:gd name="connsiteX214" fmla="*/ 963803 w 1372688"/>
              <a:gd name="connsiteY214" fmla="*/ 0 h 509893"/>
              <a:gd name="connsiteX215" fmla="*/ 977818 w 1372688"/>
              <a:gd name="connsiteY215" fmla="*/ 0 h 509893"/>
              <a:gd name="connsiteX216" fmla="*/ 980468 w 1372688"/>
              <a:gd name="connsiteY216" fmla="*/ 0 h 509893"/>
              <a:gd name="connsiteX217" fmla="*/ 980477 w 1372688"/>
              <a:gd name="connsiteY217" fmla="*/ 0 h 509893"/>
              <a:gd name="connsiteX218" fmla="*/ 980819 w 1372688"/>
              <a:gd name="connsiteY218" fmla="*/ 0 h 509893"/>
              <a:gd name="connsiteX219" fmla="*/ 984414 w 1372688"/>
              <a:gd name="connsiteY219" fmla="*/ 0 h 509893"/>
              <a:gd name="connsiteX220" fmla="*/ 987064 w 1372688"/>
              <a:gd name="connsiteY220" fmla="*/ 0 h 509893"/>
              <a:gd name="connsiteX221" fmla="*/ 997484 w 1372688"/>
              <a:gd name="connsiteY221" fmla="*/ 0 h 509893"/>
              <a:gd name="connsiteX222" fmla="*/ 1004080 w 1372688"/>
              <a:gd name="connsiteY222" fmla="*/ 0 h 509893"/>
              <a:gd name="connsiteX223" fmla="*/ 1011007 w 1372688"/>
              <a:gd name="connsiteY223" fmla="*/ 0 h 509893"/>
              <a:gd name="connsiteX224" fmla="*/ 1028343 w 1372688"/>
              <a:gd name="connsiteY224" fmla="*/ 0 h 509893"/>
              <a:gd name="connsiteX225" fmla="*/ 1045008 w 1372688"/>
              <a:gd name="connsiteY225" fmla="*/ 0 h 509893"/>
              <a:gd name="connsiteX226" fmla="*/ 1045019 w 1372688"/>
              <a:gd name="connsiteY226" fmla="*/ 0 h 509893"/>
              <a:gd name="connsiteX227" fmla="*/ 1046956 w 1372688"/>
              <a:gd name="connsiteY227" fmla="*/ 0 h 509893"/>
              <a:gd name="connsiteX228" fmla="*/ 1051604 w 1372688"/>
              <a:gd name="connsiteY228" fmla="*/ 0 h 509893"/>
              <a:gd name="connsiteX229" fmla="*/ 1063621 w 1372688"/>
              <a:gd name="connsiteY229" fmla="*/ 0 h 509893"/>
              <a:gd name="connsiteX230" fmla="*/ 1070217 w 1372688"/>
              <a:gd name="connsiteY230" fmla="*/ 0 h 509893"/>
              <a:gd name="connsiteX231" fmla="*/ 1092543 w 1372688"/>
              <a:gd name="connsiteY231" fmla="*/ 0 h 509893"/>
              <a:gd name="connsiteX232" fmla="*/ 1094481 w 1372688"/>
              <a:gd name="connsiteY232" fmla="*/ 0 h 509893"/>
              <a:gd name="connsiteX233" fmla="*/ 1111146 w 1372688"/>
              <a:gd name="connsiteY233" fmla="*/ 0 h 509893"/>
              <a:gd name="connsiteX234" fmla="*/ 1111155 w 1372688"/>
              <a:gd name="connsiteY234" fmla="*/ 0 h 509893"/>
              <a:gd name="connsiteX235" fmla="*/ 1117742 w 1372688"/>
              <a:gd name="connsiteY235" fmla="*/ 0 h 509893"/>
              <a:gd name="connsiteX236" fmla="*/ 1372688 w 1372688"/>
              <a:gd name="connsiteY236" fmla="*/ 254948 h 509893"/>
              <a:gd name="connsiteX237" fmla="*/ 1372687 w 1372688"/>
              <a:gd name="connsiteY237" fmla="*/ 254948 h 509893"/>
              <a:gd name="connsiteX238" fmla="*/ 1117742 w 1372688"/>
              <a:gd name="connsiteY238" fmla="*/ 509893 h 509893"/>
              <a:gd name="connsiteX239" fmla="*/ 1111158 w 1372688"/>
              <a:gd name="connsiteY239" fmla="*/ 509893 h 509893"/>
              <a:gd name="connsiteX240" fmla="*/ 1111154 w 1372688"/>
              <a:gd name="connsiteY240" fmla="*/ 509893 h 509893"/>
              <a:gd name="connsiteX241" fmla="*/ 1111145 w 1372688"/>
              <a:gd name="connsiteY241" fmla="*/ 509893 h 509893"/>
              <a:gd name="connsiteX242" fmla="*/ 1092543 w 1372688"/>
              <a:gd name="connsiteY242" fmla="*/ 509893 h 509893"/>
              <a:gd name="connsiteX243" fmla="*/ 1092542 w 1372688"/>
              <a:gd name="connsiteY243" fmla="*/ 509893 h 509893"/>
              <a:gd name="connsiteX244" fmla="*/ 1070219 w 1372688"/>
              <a:gd name="connsiteY244" fmla="*/ 509893 h 509893"/>
              <a:gd name="connsiteX245" fmla="*/ 1070217 w 1372688"/>
              <a:gd name="connsiteY245" fmla="*/ 509893 h 509893"/>
              <a:gd name="connsiteX246" fmla="*/ 1063623 w 1372688"/>
              <a:gd name="connsiteY246" fmla="*/ 509893 h 509893"/>
              <a:gd name="connsiteX247" fmla="*/ 1063620 w 1372688"/>
              <a:gd name="connsiteY247" fmla="*/ 509893 h 509893"/>
              <a:gd name="connsiteX248" fmla="*/ 1051604 w 1372688"/>
              <a:gd name="connsiteY248" fmla="*/ 509893 h 509893"/>
              <a:gd name="connsiteX249" fmla="*/ 1051603 w 1372688"/>
              <a:gd name="connsiteY249" fmla="*/ 509893 h 509893"/>
              <a:gd name="connsiteX250" fmla="*/ 1045020 w 1372688"/>
              <a:gd name="connsiteY250" fmla="*/ 509893 h 509893"/>
              <a:gd name="connsiteX251" fmla="*/ 1045018 w 1372688"/>
              <a:gd name="connsiteY251" fmla="*/ 509893 h 509893"/>
              <a:gd name="connsiteX252" fmla="*/ 1045008 w 1372688"/>
              <a:gd name="connsiteY252" fmla="*/ 509893 h 509893"/>
              <a:gd name="connsiteX253" fmla="*/ 1045007 w 1372688"/>
              <a:gd name="connsiteY253" fmla="*/ 509893 h 509893"/>
              <a:gd name="connsiteX254" fmla="*/ 1011006 w 1372688"/>
              <a:gd name="connsiteY254" fmla="*/ 509893 h 509893"/>
              <a:gd name="connsiteX255" fmla="*/ 1004082 w 1372688"/>
              <a:gd name="connsiteY255" fmla="*/ 509893 h 509893"/>
              <a:gd name="connsiteX256" fmla="*/ 1004079 w 1372688"/>
              <a:gd name="connsiteY256" fmla="*/ 509893 h 509893"/>
              <a:gd name="connsiteX257" fmla="*/ 997485 w 1372688"/>
              <a:gd name="connsiteY257" fmla="*/ 509893 h 509893"/>
              <a:gd name="connsiteX258" fmla="*/ 997483 w 1372688"/>
              <a:gd name="connsiteY258" fmla="*/ 509893 h 509893"/>
              <a:gd name="connsiteX259" fmla="*/ 987064 w 1372688"/>
              <a:gd name="connsiteY259" fmla="*/ 509893 h 509893"/>
              <a:gd name="connsiteX260" fmla="*/ 984414 w 1372688"/>
              <a:gd name="connsiteY260" fmla="*/ 509893 h 509893"/>
              <a:gd name="connsiteX261" fmla="*/ 984413 w 1372688"/>
              <a:gd name="connsiteY261" fmla="*/ 509893 h 509893"/>
              <a:gd name="connsiteX262" fmla="*/ 980480 w 1372688"/>
              <a:gd name="connsiteY262" fmla="*/ 509893 h 509893"/>
              <a:gd name="connsiteX263" fmla="*/ 980476 w 1372688"/>
              <a:gd name="connsiteY263" fmla="*/ 509893 h 509893"/>
              <a:gd name="connsiteX264" fmla="*/ 980467 w 1372688"/>
              <a:gd name="connsiteY264" fmla="*/ 509893 h 509893"/>
              <a:gd name="connsiteX265" fmla="*/ 977818 w 1372688"/>
              <a:gd name="connsiteY265" fmla="*/ 509893 h 509893"/>
              <a:gd name="connsiteX266" fmla="*/ 977816 w 1372688"/>
              <a:gd name="connsiteY266" fmla="*/ 509893 h 509893"/>
              <a:gd name="connsiteX267" fmla="*/ 963483 w 1372688"/>
              <a:gd name="connsiteY267" fmla="*/ 509893 h 509893"/>
              <a:gd name="connsiteX268" fmla="*/ 963481 w 1372688"/>
              <a:gd name="connsiteY268" fmla="*/ 509893 h 509893"/>
              <a:gd name="connsiteX269" fmla="*/ 961865 w 1372688"/>
              <a:gd name="connsiteY269" fmla="*/ 509893 h 509893"/>
              <a:gd name="connsiteX270" fmla="*/ 961864 w 1372688"/>
              <a:gd name="connsiteY270" fmla="*/ 509893 h 509893"/>
              <a:gd name="connsiteX271" fmla="*/ 944868 w 1372688"/>
              <a:gd name="connsiteY271" fmla="*/ 509893 h 509893"/>
              <a:gd name="connsiteX272" fmla="*/ 939541 w 1372688"/>
              <a:gd name="connsiteY272" fmla="*/ 509893 h 509893"/>
              <a:gd name="connsiteX273" fmla="*/ 939539 w 1372688"/>
              <a:gd name="connsiteY273" fmla="*/ 509893 h 509893"/>
              <a:gd name="connsiteX274" fmla="*/ 936891 w 1372688"/>
              <a:gd name="connsiteY274" fmla="*/ 509893 h 509893"/>
              <a:gd name="connsiteX275" fmla="*/ 936888 w 1372688"/>
              <a:gd name="connsiteY275" fmla="*/ 509893 h 509893"/>
              <a:gd name="connsiteX276" fmla="*/ 936878 w 1372688"/>
              <a:gd name="connsiteY276" fmla="*/ 509893 h 509893"/>
              <a:gd name="connsiteX277" fmla="*/ 932945 w 1372688"/>
              <a:gd name="connsiteY277" fmla="*/ 509893 h 509893"/>
              <a:gd name="connsiteX278" fmla="*/ 932942 w 1372688"/>
              <a:gd name="connsiteY278" fmla="*/ 509893 h 509893"/>
              <a:gd name="connsiteX279" fmla="*/ 930294 w 1372688"/>
              <a:gd name="connsiteY279" fmla="*/ 509893 h 509893"/>
              <a:gd name="connsiteX280" fmla="*/ 930291 w 1372688"/>
              <a:gd name="connsiteY280" fmla="*/ 509893 h 509893"/>
              <a:gd name="connsiteX281" fmla="*/ 920926 w 1372688"/>
              <a:gd name="connsiteY281" fmla="*/ 509893 h 509893"/>
              <a:gd name="connsiteX282" fmla="*/ 920925 w 1372688"/>
              <a:gd name="connsiteY282" fmla="*/ 509893 h 509893"/>
              <a:gd name="connsiteX283" fmla="*/ 918276 w 1372688"/>
              <a:gd name="connsiteY283" fmla="*/ 509893 h 509893"/>
              <a:gd name="connsiteX284" fmla="*/ 918275 w 1372688"/>
              <a:gd name="connsiteY284" fmla="*/ 509893 h 509893"/>
              <a:gd name="connsiteX285" fmla="*/ 914342 w 1372688"/>
              <a:gd name="connsiteY285" fmla="*/ 509893 h 509893"/>
              <a:gd name="connsiteX286" fmla="*/ 914340 w 1372688"/>
              <a:gd name="connsiteY286" fmla="*/ 509893 h 509893"/>
              <a:gd name="connsiteX287" fmla="*/ 914330 w 1372688"/>
              <a:gd name="connsiteY287" fmla="*/ 509893 h 509893"/>
              <a:gd name="connsiteX288" fmla="*/ 914329 w 1372688"/>
              <a:gd name="connsiteY288" fmla="*/ 509893 h 509893"/>
              <a:gd name="connsiteX289" fmla="*/ 911680 w 1372688"/>
              <a:gd name="connsiteY289" fmla="*/ 509893 h 509893"/>
              <a:gd name="connsiteX290" fmla="*/ 911679 w 1372688"/>
              <a:gd name="connsiteY290" fmla="*/ 509893 h 509893"/>
              <a:gd name="connsiteX291" fmla="*/ 897346 w 1372688"/>
              <a:gd name="connsiteY291" fmla="*/ 509893 h 509893"/>
              <a:gd name="connsiteX292" fmla="*/ 897344 w 1372688"/>
              <a:gd name="connsiteY292" fmla="*/ 509893 h 509893"/>
              <a:gd name="connsiteX293" fmla="*/ 889356 w 1372688"/>
              <a:gd name="connsiteY293" fmla="*/ 509893 h 509893"/>
              <a:gd name="connsiteX294" fmla="*/ 889353 w 1372688"/>
              <a:gd name="connsiteY294" fmla="*/ 509893 h 509893"/>
              <a:gd name="connsiteX295" fmla="*/ 880328 w 1372688"/>
              <a:gd name="connsiteY295" fmla="*/ 509893 h 509893"/>
              <a:gd name="connsiteX296" fmla="*/ 877678 w 1372688"/>
              <a:gd name="connsiteY296" fmla="*/ 509893 h 509893"/>
              <a:gd name="connsiteX297" fmla="*/ 873404 w 1372688"/>
              <a:gd name="connsiteY297" fmla="*/ 509893 h 509893"/>
              <a:gd name="connsiteX298" fmla="*/ 873401 w 1372688"/>
              <a:gd name="connsiteY298" fmla="*/ 509893 h 509893"/>
              <a:gd name="connsiteX299" fmla="*/ 870753 w 1372688"/>
              <a:gd name="connsiteY299" fmla="*/ 509893 h 509893"/>
              <a:gd name="connsiteX300" fmla="*/ 870751 w 1372688"/>
              <a:gd name="connsiteY300" fmla="*/ 509893 h 509893"/>
              <a:gd name="connsiteX301" fmla="*/ 870741 w 1372688"/>
              <a:gd name="connsiteY301" fmla="*/ 509893 h 509893"/>
              <a:gd name="connsiteX302" fmla="*/ 870740 w 1372688"/>
              <a:gd name="connsiteY302" fmla="*/ 509893 h 509893"/>
              <a:gd name="connsiteX303" fmla="*/ 866807 w 1372688"/>
              <a:gd name="connsiteY303" fmla="*/ 509893 h 509893"/>
              <a:gd name="connsiteX304" fmla="*/ 866805 w 1372688"/>
              <a:gd name="connsiteY304" fmla="*/ 509893 h 509893"/>
              <a:gd name="connsiteX305" fmla="*/ 864156 w 1372688"/>
              <a:gd name="connsiteY305" fmla="*/ 509893 h 509893"/>
              <a:gd name="connsiteX306" fmla="*/ 864155 w 1372688"/>
              <a:gd name="connsiteY306" fmla="*/ 509893 h 509893"/>
              <a:gd name="connsiteX307" fmla="*/ 853736 w 1372688"/>
              <a:gd name="connsiteY307" fmla="*/ 509893 h 509893"/>
              <a:gd name="connsiteX308" fmla="*/ 853735 w 1372688"/>
              <a:gd name="connsiteY308" fmla="*/ 509893 h 509893"/>
              <a:gd name="connsiteX309" fmla="*/ 847140 w 1372688"/>
              <a:gd name="connsiteY309" fmla="*/ 509893 h 509893"/>
              <a:gd name="connsiteX310" fmla="*/ 847138 w 1372688"/>
              <a:gd name="connsiteY310" fmla="*/ 509893 h 509893"/>
              <a:gd name="connsiteX311" fmla="*/ 836739 w 1372688"/>
              <a:gd name="connsiteY311" fmla="*/ 509893 h 509893"/>
              <a:gd name="connsiteX312" fmla="*/ 832805 w 1372688"/>
              <a:gd name="connsiteY312" fmla="*/ 509893 h 509893"/>
              <a:gd name="connsiteX313" fmla="*/ 832803 w 1372688"/>
              <a:gd name="connsiteY313" fmla="*/ 509893 h 509893"/>
              <a:gd name="connsiteX314" fmla="*/ 830155 w 1372688"/>
              <a:gd name="connsiteY314" fmla="*/ 509893 h 509893"/>
              <a:gd name="connsiteX315" fmla="*/ 830153 w 1372688"/>
              <a:gd name="connsiteY315" fmla="*/ 509893 h 509893"/>
              <a:gd name="connsiteX316" fmla="*/ 830142 w 1372688"/>
              <a:gd name="connsiteY316" fmla="*/ 509893 h 509893"/>
              <a:gd name="connsiteX317" fmla="*/ 823218 w 1372688"/>
              <a:gd name="connsiteY317" fmla="*/ 509893 h 509893"/>
              <a:gd name="connsiteX318" fmla="*/ 823216 w 1372688"/>
              <a:gd name="connsiteY318" fmla="*/ 509893 h 509893"/>
              <a:gd name="connsiteX319" fmla="*/ 814190 w 1372688"/>
              <a:gd name="connsiteY319" fmla="*/ 509893 h 509893"/>
              <a:gd name="connsiteX320" fmla="*/ 811540 w 1372688"/>
              <a:gd name="connsiteY320" fmla="*/ 509893 h 509893"/>
              <a:gd name="connsiteX321" fmla="*/ 811539 w 1372688"/>
              <a:gd name="connsiteY321" fmla="*/ 509893 h 509893"/>
              <a:gd name="connsiteX322" fmla="*/ 806213 w 1372688"/>
              <a:gd name="connsiteY322" fmla="*/ 509893 h 509893"/>
              <a:gd name="connsiteX323" fmla="*/ 806210 w 1372688"/>
              <a:gd name="connsiteY323" fmla="*/ 509893 h 509893"/>
              <a:gd name="connsiteX324" fmla="*/ 806200 w 1372688"/>
              <a:gd name="connsiteY324" fmla="*/ 509893 h 509893"/>
              <a:gd name="connsiteX325" fmla="*/ 803551 w 1372688"/>
              <a:gd name="connsiteY325" fmla="*/ 509893 h 509893"/>
              <a:gd name="connsiteX326" fmla="*/ 803550 w 1372688"/>
              <a:gd name="connsiteY326" fmla="*/ 509893 h 509893"/>
              <a:gd name="connsiteX327" fmla="*/ 799616 w 1372688"/>
              <a:gd name="connsiteY327" fmla="*/ 509893 h 509893"/>
              <a:gd name="connsiteX328" fmla="*/ 799613 w 1372688"/>
              <a:gd name="connsiteY328" fmla="*/ 509893 h 509893"/>
              <a:gd name="connsiteX329" fmla="*/ 789216 w 1372688"/>
              <a:gd name="connsiteY329" fmla="*/ 509893 h 509893"/>
              <a:gd name="connsiteX330" fmla="*/ 789214 w 1372688"/>
              <a:gd name="connsiteY330" fmla="*/ 509893 h 509893"/>
              <a:gd name="connsiteX331" fmla="*/ 787598 w 1372688"/>
              <a:gd name="connsiteY331" fmla="*/ 509893 h 509893"/>
              <a:gd name="connsiteX332" fmla="*/ 787597 w 1372688"/>
              <a:gd name="connsiteY332" fmla="*/ 509893 h 509893"/>
              <a:gd name="connsiteX333" fmla="*/ 782620 w 1372688"/>
              <a:gd name="connsiteY333" fmla="*/ 509893 h 509893"/>
              <a:gd name="connsiteX334" fmla="*/ 782617 w 1372688"/>
              <a:gd name="connsiteY334" fmla="*/ 509893 h 509893"/>
              <a:gd name="connsiteX335" fmla="*/ 781002 w 1372688"/>
              <a:gd name="connsiteY335" fmla="*/ 509893 h 509893"/>
              <a:gd name="connsiteX336" fmla="*/ 781001 w 1372688"/>
              <a:gd name="connsiteY336" fmla="*/ 509893 h 509893"/>
              <a:gd name="connsiteX337" fmla="*/ 770601 w 1372688"/>
              <a:gd name="connsiteY337" fmla="*/ 509893 h 509893"/>
              <a:gd name="connsiteX338" fmla="*/ 766668 w 1372688"/>
              <a:gd name="connsiteY338" fmla="*/ 509893 h 509893"/>
              <a:gd name="connsiteX339" fmla="*/ 766666 w 1372688"/>
              <a:gd name="connsiteY339" fmla="*/ 509893 h 509893"/>
              <a:gd name="connsiteX340" fmla="*/ 764017 w 1372688"/>
              <a:gd name="connsiteY340" fmla="*/ 509893 h 509893"/>
              <a:gd name="connsiteX341" fmla="*/ 764015 w 1372688"/>
              <a:gd name="connsiteY341" fmla="*/ 509893 h 509893"/>
              <a:gd name="connsiteX342" fmla="*/ 764005 w 1372688"/>
              <a:gd name="connsiteY342" fmla="*/ 509893 h 509893"/>
              <a:gd name="connsiteX343" fmla="*/ 764004 w 1372688"/>
              <a:gd name="connsiteY343" fmla="*/ 509893 h 509893"/>
              <a:gd name="connsiteX344" fmla="*/ 758678 w 1372688"/>
              <a:gd name="connsiteY344" fmla="*/ 509893 h 509893"/>
              <a:gd name="connsiteX345" fmla="*/ 758675 w 1372688"/>
              <a:gd name="connsiteY345" fmla="*/ 509893 h 509893"/>
              <a:gd name="connsiteX346" fmla="*/ 756027 w 1372688"/>
              <a:gd name="connsiteY346" fmla="*/ 509893 h 509893"/>
              <a:gd name="connsiteX347" fmla="*/ 756025 w 1372688"/>
              <a:gd name="connsiteY347" fmla="*/ 509893 h 509893"/>
              <a:gd name="connsiteX348" fmla="*/ 747000 w 1372688"/>
              <a:gd name="connsiteY348" fmla="*/ 509893 h 509893"/>
              <a:gd name="connsiteX349" fmla="*/ 740075 w 1372688"/>
              <a:gd name="connsiteY349" fmla="*/ 509893 h 509893"/>
              <a:gd name="connsiteX350" fmla="*/ 740073 w 1372688"/>
              <a:gd name="connsiteY350" fmla="*/ 509893 h 509893"/>
              <a:gd name="connsiteX351" fmla="*/ 740063 w 1372688"/>
              <a:gd name="connsiteY351" fmla="*/ 509893 h 509893"/>
              <a:gd name="connsiteX352" fmla="*/ 740062 w 1372688"/>
              <a:gd name="connsiteY352" fmla="*/ 509893 h 509893"/>
              <a:gd name="connsiteX353" fmla="*/ 737413 w 1372688"/>
              <a:gd name="connsiteY353" fmla="*/ 509893 h 509893"/>
              <a:gd name="connsiteX354" fmla="*/ 737412 w 1372688"/>
              <a:gd name="connsiteY354" fmla="*/ 509893 h 509893"/>
              <a:gd name="connsiteX355" fmla="*/ 733478 w 1372688"/>
              <a:gd name="connsiteY355" fmla="*/ 509893 h 509893"/>
              <a:gd name="connsiteX356" fmla="*/ 733477 w 1372688"/>
              <a:gd name="connsiteY356" fmla="*/ 509893 h 509893"/>
              <a:gd name="connsiteX357" fmla="*/ 723080 w 1372688"/>
              <a:gd name="connsiteY357" fmla="*/ 509893 h 509893"/>
              <a:gd name="connsiteX358" fmla="*/ 723077 w 1372688"/>
              <a:gd name="connsiteY358" fmla="*/ 509893 h 509893"/>
              <a:gd name="connsiteX359" fmla="*/ 716483 w 1372688"/>
              <a:gd name="connsiteY359" fmla="*/ 509893 h 509893"/>
              <a:gd name="connsiteX360" fmla="*/ 716480 w 1372688"/>
              <a:gd name="connsiteY360" fmla="*/ 509893 h 509893"/>
              <a:gd name="connsiteX361" fmla="*/ 706061 w 1372688"/>
              <a:gd name="connsiteY361" fmla="*/ 509893 h 509893"/>
              <a:gd name="connsiteX362" fmla="*/ 703411 w 1372688"/>
              <a:gd name="connsiteY362" fmla="*/ 509893 h 509893"/>
              <a:gd name="connsiteX363" fmla="*/ 699477 w 1372688"/>
              <a:gd name="connsiteY363" fmla="*/ 509893 h 509893"/>
              <a:gd name="connsiteX364" fmla="*/ 699475 w 1372688"/>
              <a:gd name="connsiteY364" fmla="*/ 509893 h 509893"/>
              <a:gd name="connsiteX365" fmla="*/ 699464 w 1372688"/>
              <a:gd name="connsiteY365" fmla="*/ 509893 h 509893"/>
              <a:gd name="connsiteX366" fmla="*/ 696815 w 1372688"/>
              <a:gd name="connsiteY366" fmla="*/ 509893 h 509893"/>
              <a:gd name="connsiteX367" fmla="*/ 696814 w 1372688"/>
              <a:gd name="connsiteY367" fmla="*/ 509893 h 509893"/>
              <a:gd name="connsiteX368" fmla="*/ 692540 w 1372688"/>
              <a:gd name="connsiteY368" fmla="*/ 509893 h 509893"/>
              <a:gd name="connsiteX369" fmla="*/ 692538 w 1372688"/>
              <a:gd name="connsiteY369" fmla="*/ 509893 h 509893"/>
              <a:gd name="connsiteX370" fmla="*/ 689889 w 1372688"/>
              <a:gd name="connsiteY370" fmla="*/ 509893 h 509893"/>
              <a:gd name="connsiteX371" fmla="*/ 689888 w 1372688"/>
              <a:gd name="connsiteY371" fmla="*/ 509893 h 509893"/>
              <a:gd name="connsiteX372" fmla="*/ 680862 w 1372688"/>
              <a:gd name="connsiteY372" fmla="*/ 509893 h 509893"/>
              <a:gd name="connsiteX373" fmla="*/ 680861 w 1372688"/>
              <a:gd name="connsiteY373" fmla="*/ 509893 h 509893"/>
              <a:gd name="connsiteX374" fmla="*/ 672873 w 1372688"/>
              <a:gd name="connsiteY374" fmla="*/ 509893 h 509893"/>
              <a:gd name="connsiteX375" fmla="*/ 672872 w 1372688"/>
              <a:gd name="connsiteY375" fmla="*/ 509893 h 509893"/>
              <a:gd name="connsiteX376" fmla="*/ 658538 w 1372688"/>
              <a:gd name="connsiteY376" fmla="*/ 509893 h 509893"/>
              <a:gd name="connsiteX377" fmla="*/ 658536 w 1372688"/>
              <a:gd name="connsiteY377" fmla="*/ 509893 h 509893"/>
              <a:gd name="connsiteX378" fmla="*/ 655888 w 1372688"/>
              <a:gd name="connsiteY378" fmla="*/ 509893 h 509893"/>
              <a:gd name="connsiteX379" fmla="*/ 655886 w 1372688"/>
              <a:gd name="connsiteY379" fmla="*/ 509893 h 509893"/>
              <a:gd name="connsiteX380" fmla="*/ 655875 w 1372688"/>
              <a:gd name="connsiteY380" fmla="*/ 509893 h 509893"/>
              <a:gd name="connsiteX381" fmla="*/ 651942 w 1372688"/>
              <a:gd name="connsiteY381" fmla="*/ 509893 h 509893"/>
              <a:gd name="connsiteX382" fmla="*/ 651939 w 1372688"/>
              <a:gd name="connsiteY382" fmla="*/ 509893 h 509893"/>
              <a:gd name="connsiteX383" fmla="*/ 649292 w 1372688"/>
              <a:gd name="connsiteY383" fmla="*/ 509893 h 509893"/>
              <a:gd name="connsiteX384" fmla="*/ 649289 w 1372688"/>
              <a:gd name="connsiteY384" fmla="*/ 509893 h 509893"/>
              <a:gd name="connsiteX385" fmla="*/ 639923 w 1372688"/>
              <a:gd name="connsiteY385" fmla="*/ 509893 h 509893"/>
              <a:gd name="connsiteX386" fmla="*/ 637273 w 1372688"/>
              <a:gd name="connsiteY386" fmla="*/ 509893 h 509893"/>
              <a:gd name="connsiteX387" fmla="*/ 637272 w 1372688"/>
              <a:gd name="connsiteY387" fmla="*/ 509893 h 509893"/>
              <a:gd name="connsiteX388" fmla="*/ 633339 w 1372688"/>
              <a:gd name="connsiteY388" fmla="*/ 509893 h 509893"/>
              <a:gd name="connsiteX389" fmla="*/ 633337 w 1372688"/>
              <a:gd name="connsiteY389" fmla="*/ 509893 h 509893"/>
              <a:gd name="connsiteX390" fmla="*/ 633327 w 1372688"/>
              <a:gd name="connsiteY390" fmla="*/ 509893 h 509893"/>
              <a:gd name="connsiteX391" fmla="*/ 633326 w 1372688"/>
              <a:gd name="connsiteY391" fmla="*/ 509893 h 509893"/>
              <a:gd name="connsiteX392" fmla="*/ 630677 w 1372688"/>
              <a:gd name="connsiteY392" fmla="*/ 509893 h 509893"/>
              <a:gd name="connsiteX393" fmla="*/ 630676 w 1372688"/>
              <a:gd name="connsiteY393" fmla="*/ 509893 h 509893"/>
              <a:gd name="connsiteX394" fmla="*/ 625349 w 1372688"/>
              <a:gd name="connsiteY394" fmla="*/ 509893 h 509893"/>
              <a:gd name="connsiteX395" fmla="*/ 625347 w 1372688"/>
              <a:gd name="connsiteY395" fmla="*/ 509893 h 509893"/>
              <a:gd name="connsiteX396" fmla="*/ 608353 w 1372688"/>
              <a:gd name="connsiteY396" fmla="*/ 509893 h 509893"/>
              <a:gd name="connsiteX397" fmla="*/ 608350 w 1372688"/>
              <a:gd name="connsiteY397" fmla="*/ 509893 h 509893"/>
              <a:gd name="connsiteX398" fmla="*/ 606735 w 1372688"/>
              <a:gd name="connsiteY398" fmla="*/ 509893 h 509893"/>
              <a:gd name="connsiteX399" fmla="*/ 606734 w 1372688"/>
              <a:gd name="connsiteY399" fmla="*/ 509893 h 509893"/>
              <a:gd name="connsiteX400" fmla="*/ 592402 w 1372688"/>
              <a:gd name="connsiteY400" fmla="*/ 509893 h 509893"/>
              <a:gd name="connsiteX401" fmla="*/ 592399 w 1372688"/>
              <a:gd name="connsiteY401" fmla="*/ 509893 h 509893"/>
              <a:gd name="connsiteX402" fmla="*/ 589750 w 1372688"/>
              <a:gd name="connsiteY402" fmla="*/ 509893 h 509893"/>
              <a:gd name="connsiteX403" fmla="*/ 589748 w 1372688"/>
              <a:gd name="connsiteY403" fmla="*/ 509893 h 509893"/>
              <a:gd name="connsiteX404" fmla="*/ 589738 w 1372688"/>
              <a:gd name="connsiteY404" fmla="*/ 509893 h 509893"/>
              <a:gd name="connsiteX405" fmla="*/ 589737 w 1372688"/>
              <a:gd name="connsiteY405" fmla="*/ 509893 h 509893"/>
              <a:gd name="connsiteX406" fmla="*/ 585805 w 1372688"/>
              <a:gd name="connsiteY406" fmla="*/ 509893 h 509893"/>
              <a:gd name="connsiteX407" fmla="*/ 585802 w 1372688"/>
              <a:gd name="connsiteY407" fmla="*/ 509893 h 509893"/>
              <a:gd name="connsiteX408" fmla="*/ 583154 w 1372688"/>
              <a:gd name="connsiteY408" fmla="*/ 509893 h 509893"/>
              <a:gd name="connsiteX409" fmla="*/ 583152 w 1372688"/>
              <a:gd name="connsiteY409" fmla="*/ 509893 h 509893"/>
              <a:gd name="connsiteX410" fmla="*/ 572733 w 1372688"/>
              <a:gd name="connsiteY410" fmla="*/ 509893 h 509893"/>
              <a:gd name="connsiteX411" fmla="*/ 566137 w 1372688"/>
              <a:gd name="connsiteY411" fmla="*/ 509893 h 509893"/>
              <a:gd name="connsiteX412" fmla="*/ 566136 w 1372688"/>
              <a:gd name="connsiteY412" fmla="*/ 509893 h 509893"/>
              <a:gd name="connsiteX413" fmla="*/ 559211 w 1372688"/>
              <a:gd name="connsiteY413" fmla="*/ 509893 h 509893"/>
              <a:gd name="connsiteX414" fmla="*/ 559210 w 1372688"/>
              <a:gd name="connsiteY414" fmla="*/ 509893 h 509893"/>
              <a:gd name="connsiteX415" fmla="*/ 525210 w 1372688"/>
              <a:gd name="connsiteY415" fmla="*/ 509893 h 509893"/>
              <a:gd name="connsiteX416" fmla="*/ 525208 w 1372688"/>
              <a:gd name="connsiteY416" fmla="*/ 509893 h 509893"/>
              <a:gd name="connsiteX417" fmla="*/ 525197 w 1372688"/>
              <a:gd name="connsiteY417" fmla="*/ 509893 h 509893"/>
              <a:gd name="connsiteX418" fmla="*/ 518614 w 1372688"/>
              <a:gd name="connsiteY418" fmla="*/ 509893 h 509893"/>
              <a:gd name="connsiteX419" fmla="*/ 518611 w 1372688"/>
              <a:gd name="connsiteY419" fmla="*/ 509893 h 509893"/>
              <a:gd name="connsiteX420" fmla="*/ 506595 w 1372688"/>
              <a:gd name="connsiteY420" fmla="*/ 509893 h 509893"/>
              <a:gd name="connsiteX421" fmla="*/ 506594 w 1372688"/>
              <a:gd name="connsiteY421" fmla="*/ 509893 h 509893"/>
              <a:gd name="connsiteX422" fmla="*/ 499999 w 1372688"/>
              <a:gd name="connsiteY422" fmla="*/ 509893 h 509893"/>
              <a:gd name="connsiteX423" fmla="*/ 499998 w 1372688"/>
              <a:gd name="connsiteY423" fmla="*/ 509893 h 509893"/>
              <a:gd name="connsiteX424" fmla="*/ 477675 w 1372688"/>
              <a:gd name="connsiteY424" fmla="*/ 509893 h 509893"/>
              <a:gd name="connsiteX425" fmla="*/ 477672 w 1372688"/>
              <a:gd name="connsiteY425" fmla="*/ 509893 h 509893"/>
              <a:gd name="connsiteX426" fmla="*/ 459072 w 1372688"/>
              <a:gd name="connsiteY426" fmla="*/ 509893 h 509893"/>
              <a:gd name="connsiteX427" fmla="*/ 459070 w 1372688"/>
              <a:gd name="connsiteY427" fmla="*/ 509893 h 509893"/>
              <a:gd name="connsiteX428" fmla="*/ 459060 w 1372688"/>
              <a:gd name="connsiteY428" fmla="*/ 509893 h 509893"/>
              <a:gd name="connsiteX429" fmla="*/ 459059 w 1372688"/>
              <a:gd name="connsiteY429" fmla="*/ 509893 h 509893"/>
              <a:gd name="connsiteX430" fmla="*/ 452476 w 1372688"/>
              <a:gd name="connsiteY430" fmla="*/ 509893 h 509893"/>
              <a:gd name="connsiteX431" fmla="*/ 452474 w 1372688"/>
              <a:gd name="connsiteY431" fmla="*/ 509893 h 509893"/>
              <a:gd name="connsiteX432" fmla="*/ 254948 w 1372688"/>
              <a:gd name="connsiteY432" fmla="*/ 509892 h 509893"/>
              <a:gd name="connsiteX433" fmla="*/ 5179 w 1372688"/>
              <a:gd name="connsiteY433" fmla="*/ 306327 h 509893"/>
              <a:gd name="connsiteX434" fmla="*/ 0 w 1372688"/>
              <a:gd name="connsiteY434" fmla="*/ 254948 h 509893"/>
              <a:gd name="connsiteX435" fmla="*/ 5179 w 1372688"/>
              <a:gd name="connsiteY435" fmla="*/ 203567 h 509893"/>
              <a:gd name="connsiteX436" fmla="*/ 254948 w 1372688"/>
              <a:gd name="connsiteY436" fmla="*/ 0 h 5098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</a:cxnLst>
            <a:rect l="l" t="t" r="r" b="b"/>
            <a:pathLst>
              <a:path w="1372688" h="509893">
                <a:moveTo>
                  <a:pt x="254948" y="0"/>
                </a:moveTo>
                <a:lnTo>
                  <a:pt x="261533" y="0"/>
                </a:lnTo>
                <a:lnTo>
                  <a:pt x="261544" y="0"/>
                </a:lnTo>
                <a:lnTo>
                  <a:pt x="278208" y="0"/>
                </a:lnTo>
                <a:lnTo>
                  <a:pt x="280146" y="0"/>
                </a:lnTo>
                <a:lnTo>
                  <a:pt x="302471" y="0"/>
                </a:lnTo>
                <a:lnTo>
                  <a:pt x="309068" y="0"/>
                </a:lnTo>
                <a:lnTo>
                  <a:pt x="321084" y="0"/>
                </a:lnTo>
                <a:lnTo>
                  <a:pt x="325732" y="0"/>
                </a:lnTo>
                <a:lnTo>
                  <a:pt x="327671" y="0"/>
                </a:lnTo>
                <a:lnTo>
                  <a:pt x="327680" y="0"/>
                </a:lnTo>
                <a:lnTo>
                  <a:pt x="344345" y="0"/>
                </a:lnTo>
                <a:lnTo>
                  <a:pt x="361682" y="0"/>
                </a:lnTo>
                <a:lnTo>
                  <a:pt x="368609" y="0"/>
                </a:lnTo>
                <a:lnTo>
                  <a:pt x="375205" y="0"/>
                </a:lnTo>
                <a:lnTo>
                  <a:pt x="385626" y="0"/>
                </a:lnTo>
                <a:lnTo>
                  <a:pt x="388276" y="0"/>
                </a:lnTo>
                <a:lnTo>
                  <a:pt x="391870" y="0"/>
                </a:lnTo>
                <a:lnTo>
                  <a:pt x="392211" y="0"/>
                </a:lnTo>
                <a:lnTo>
                  <a:pt x="392222" y="0"/>
                </a:lnTo>
                <a:lnTo>
                  <a:pt x="394872" y="0"/>
                </a:lnTo>
                <a:lnTo>
                  <a:pt x="408886" y="0"/>
                </a:lnTo>
                <a:lnTo>
                  <a:pt x="409206" y="0"/>
                </a:lnTo>
                <a:lnTo>
                  <a:pt x="410824" y="0"/>
                </a:lnTo>
                <a:lnTo>
                  <a:pt x="411536" y="0"/>
                </a:lnTo>
                <a:lnTo>
                  <a:pt x="427820" y="0"/>
                </a:lnTo>
                <a:lnTo>
                  <a:pt x="433149" y="0"/>
                </a:lnTo>
                <a:lnTo>
                  <a:pt x="435800" y="0"/>
                </a:lnTo>
                <a:lnTo>
                  <a:pt x="435810" y="0"/>
                </a:lnTo>
                <a:lnTo>
                  <a:pt x="439746" y="0"/>
                </a:lnTo>
                <a:lnTo>
                  <a:pt x="442396" y="0"/>
                </a:lnTo>
                <a:lnTo>
                  <a:pt x="451762" y="0"/>
                </a:lnTo>
                <a:lnTo>
                  <a:pt x="452475" y="0"/>
                </a:lnTo>
                <a:lnTo>
                  <a:pt x="454412" y="0"/>
                </a:lnTo>
                <a:lnTo>
                  <a:pt x="456410" y="0"/>
                </a:lnTo>
                <a:lnTo>
                  <a:pt x="458349" y="0"/>
                </a:lnTo>
                <a:lnTo>
                  <a:pt x="458358" y="0"/>
                </a:lnTo>
                <a:lnTo>
                  <a:pt x="459060" y="0"/>
                </a:lnTo>
                <a:lnTo>
                  <a:pt x="459071" y="0"/>
                </a:lnTo>
                <a:lnTo>
                  <a:pt x="461010" y="0"/>
                </a:lnTo>
                <a:lnTo>
                  <a:pt x="475023" y="0"/>
                </a:lnTo>
                <a:lnTo>
                  <a:pt x="475345" y="0"/>
                </a:lnTo>
                <a:lnTo>
                  <a:pt x="477673" y="0"/>
                </a:lnTo>
                <a:lnTo>
                  <a:pt x="483334" y="0"/>
                </a:lnTo>
                <a:lnTo>
                  <a:pt x="492360" y="0"/>
                </a:lnTo>
                <a:lnTo>
                  <a:pt x="495012" y="0"/>
                </a:lnTo>
                <a:lnTo>
                  <a:pt x="499287" y="0"/>
                </a:lnTo>
                <a:lnTo>
                  <a:pt x="499999" y="0"/>
                </a:lnTo>
                <a:lnTo>
                  <a:pt x="501937" y="0"/>
                </a:lnTo>
                <a:lnTo>
                  <a:pt x="501947" y="0"/>
                </a:lnTo>
                <a:lnTo>
                  <a:pt x="505883" y="0"/>
                </a:lnTo>
                <a:lnTo>
                  <a:pt x="506595" y="0"/>
                </a:lnTo>
                <a:lnTo>
                  <a:pt x="508535" y="0"/>
                </a:lnTo>
                <a:lnTo>
                  <a:pt x="518612" y="0"/>
                </a:lnTo>
                <a:lnTo>
                  <a:pt x="518954" y="0"/>
                </a:lnTo>
                <a:lnTo>
                  <a:pt x="522548" y="0"/>
                </a:lnTo>
                <a:lnTo>
                  <a:pt x="525198" y="0"/>
                </a:lnTo>
                <a:lnTo>
                  <a:pt x="525208" y="0"/>
                </a:lnTo>
                <a:lnTo>
                  <a:pt x="525550" y="0"/>
                </a:lnTo>
                <a:lnTo>
                  <a:pt x="535949" y="0"/>
                </a:lnTo>
                <a:lnTo>
                  <a:pt x="539884" y="0"/>
                </a:lnTo>
                <a:lnTo>
                  <a:pt x="542214" y="0"/>
                </a:lnTo>
                <a:lnTo>
                  <a:pt x="542536" y="0"/>
                </a:lnTo>
                <a:lnTo>
                  <a:pt x="542547" y="0"/>
                </a:lnTo>
                <a:lnTo>
                  <a:pt x="549472" y="0"/>
                </a:lnTo>
                <a:lnTo>
                  <a:pt x="558498" y="0"/>
                </a:lnTo>
                <a:lnTo>
                  <a:pt x="559210" y="0"/>
                </a:lnTo>
                <a:lnTo>
                  <a:pt x="561148" y="0"/>
                </a:lnTo>
                <a:lnTo>
                  <a:pt x="566137" y="0"/>
                </a:lnTo>
                <a:lnTo>
                  <a:pt x="566478" y="0"/>
                </a:lnTo>
                <a:lnTo>
                  <a:pt x="566488" y="0"/>
                </a:lnTo>
                <a:lnTo>
                  <a:pt x="569139" y="0"/>
                </a:lnTo>
                <a:lnTo>
                  <a:pt x="572733" y="0"/>
                </a:lnTo>
                <a:lnTo>
                  <a:pt x="573074" y="0"/>
                </a:lnTo>
                <a:lnTo>
                  <a:pt x="583153" y="0"/>
                </a:lnTo>
                <a:lnTo>
                  <a:pt x="583473" y="0"/>
                </a:lnTo>
                <a:lnTo>
                  <a:pt x="585090" y="0"/>
                </a:lnTo>
                <a:lnTo>
                  <a:pt x="585803" y="0"/>
                </a:lnTo>
                <a:lnTo>
                  <a:pt x="589738" y="0"/>
                </a:lnTo>
                <a:lnTo>
                  <a:pt x="589749" y="0"/>
                </a:lnTo>
                <a:lnTo>
                  <a:pt x="590070" y="0"/>
                </a:lnTo>
                <a:lnTo>
                  <a:pt x="591688" y="0"/>
                </a:lnTo>
                <a:lnTo>
                  <a:pt x="592399" y="0"/>
                </a:lnTo>
                <a:lnTo>
                  <a:pt x="602087" y="0"/>
                </a:lnTo>
                <a:lnTo>
                  <a:pt x="606023" y="0"/>
                </a:lnTo>
                <a:lnTo>
                  <a:pt x="606735" y="0"/>
                </a:lnTo>
                <a:lnTo>
                  <a:pt x="608351" y="0"/>
                </a:lnTo>
                <a:lnTo>
                  <a:pt x="608673" y="0"/>
                </a:lnTo>
                <a:lnTo>
                  <a:pt x="608683" y="0"/>
                </a:lnTo>
                <a:lnTo>
                  <a:pt x="614012" y="0"/>
                </a:lnTo>
                <a:lnTo>
                  <a:pt x="616663" y="0"/>
                </a:lnTo>
                <a:lnTo>
                  <a:pt x="625348" y="0"/>
                </a:lnTo>
                <a:lnTo>
                  <a:pt x="625690" y="0"/>
                </a:lnTo>
                <a:lnTo>
                  <a:pt x="630677" y="0"/>
                </a:lnTo>
                <a:lnTo>
                  <a:pt x="632615" y="0"/>
                </a:lnTo>
                <a:lnTo>
                  <a:pt x="632625" y="0"/>
                </a:lnTo>
                <a:lnTo>
                  <a:pt x="633327" y="0"/>
                </a:lnTo>
                <a:lnTo>
                  <a:pt x="633338" y="0"/>
                </a:lnTo>
                <a:lnTo>
                  <a:pt x="635276" y="0"/>
                </a:lnTo>
                <a:lnTo>
                  <a:pt x="637273" y="0"/>
                </a:lnTo>
                <a:lnTo>
                  <a:pt x="639213" y="0"/>
                </a:lnTo>
                <a:lnTo>
                  <a:pt x="639923" y="0"/>
                </a:lnTo>
                <a:lnTo>
                  <a:pt x="649290" y="0"/>
                </a:lnTo>
                <a:lnTo>
                  <a:pt x="649612" y="0"/>
                </a:lnTo>
                <a:lnTo>
                  <a:pt x="651940" y="0"/>
                </a:lnTo>
                <a:lnTo>
                  <a:pt x="655876" y="0"/>
                </a:lnTo>
                <a:lnTo>
                  <a:pt x="655886" y="0"/>
                </a:lnTo>
                <a:lnTo>
                  <a:pt x="656208" y="0"/>
                </a:lnTo>
                <a:lnTo>
                  <a:pt x="658537" y="0"/>
                </a:lnTo>
                <a:lnTo>
                  <a:pt x="666627" y="0"/>
                </a:lnTo>
                <a:lnTo>
                  <a:pt x="669278" y="0"/>
                </a:lnTo>
                <a:lnTo>
                  <a:pt x="672873" y="0"/>
                </a:lnTo>
                <a:lnTo>
                  <a:pt x="673214" y="0"/>
                </a:lnTo>
                <a:lnTo>
                  <a:pt x="673225" y="0"/>
                </a:lnTo>
                <a:lnTo>
                  <a:pt x="675875" y="0"/>
                </a:lnTo>
                <a:lnTo>
                  <a:pt x="680150" y="0"/>
                </a:lnTo>
                <a:lnTo>
                  <a:pt x="680862" y="0"/>
                </a:lnTo>
                <a:lnTo>
                  <a:pt x="682801" y="0"/>
                </a:lnTo>
                <a:lnTo>
                  <a:pt x="689888" y="0"/>
                </a:lnTo>
                <a:lnTo>
                  <a:pt x="691826" y="0"/>
                </a:lnTo>
                <a:lnTo>
                  <a:pt x="692539" y="0"/>
                </a:lnTo>
                <a:lnTo>
                  <a:pt x="696815" y="0"/>
                </a:lnTo>
                <a:lnTo>
                  <a:pt x="699465" y="0"/>
                </a:lnTo>
                <a:lnTo>
                  <a:pt x="699475" y="0"/>
                </a:lnTo>
                <a:lnTo>
                  <a:pt x="699817" y="0"/>
                </a:lnTo>
                <a:lnTo>
                  <a:pt x="703411" y="0"/>
                </a:lnTo>
                <a:lnTo>
                  <a:pt x="706062" y="0"/>
                </a:lnTo>
                <a:lnTo>
                  <a:pt x="714151" y="0"/>
                </a:lnTo>
                <a:lnTo>
                  <a:pt x="716481" y="0"/>
                </a:lnTo>
                <a:lnTo>
                  <a:pt x="716802" y="0"/>
                </a:lnTo>
                <a:lnTo>
                  <a:pt x="716813" y="0"/>
                </a:lnTo>
                <a:lnTo>
                  <a:pt x="720748" y="0"/>
                </a:lnTo>
                <a:lnTo>
                  <a:pt x="723077" y="0"/>
                </a:lnTo>
                <a:lnTo>
                  <a:pt x="723399" y="0"/>
                </a:lnTo>
                <a:lnTo>
                  <a:pt x="732765" y="0"/>
                </a:lnTo>
                <a:lnTo>
                  <a:pt x="733477" y="0"/>
                </a:lnTo>
                <a:lnTo>
                  <a:pt x="735415" y="0"/>
                </a:lnTo>
                <a:lnTo>
                  <a:pt x="737413" y="0"/>
                </a:lnTo>
                <a:lnTo>
                  <a:pt x="739351" y="0"/>
                </a:lnTo>
                <a:lnTo>
                  <a:pt x="739361" y="0"/>
                </a:lnTo>
                <a:lnTo>
                  <a:pt x="740063" y="0"/>
                </a:lnTo>
                <a:lnTo>
                  <a:pt x="740074" y="0"/>
                </a:lnTo>
                <a:lnTo>
                  <a:pt x="742011" y="0"/>
                </a:lnTo>
                <a:lnTo>
                  <a:pt x="747000" y="0"/>
                </a:lnTo>
                <a:lnTo>
                  <a:pt x="747341" y="0"/>
                </a:lnTo>
                <a:lnTo>
                  <a:pt x="756026" y="0"/>
                </a:lnTo>
                <a:lnTo>
                  <a:pt x="758676" y="0"/>
                </a:lnTo>
                <a:lnTo>
                  <a:pt x="764005" y="0"/>
                </a:lnTo>
                <a:lnTo>
                  <a:pt x="764016" y="0"/>
                </a:lnTo>
                <a:lnTo>
                  <a:pt x="764337" y="0"/>
                </a:lnTo>
                <a:lnTo>
                  <a:pt x="765954" y="0"/>
                </a:lnTo>
                <a:lnTo>
                  <a:pt x="766666" y="0"/>
                </a:lnTo>
                <a:lnTo>
                  <a:pt x="770601" y="0"/>
                </a:lnTo>
                <a:lnTo>
                  <a:pt x="780290" y="0"/>
                </a:lnTo>
                <a:lnTo>
                  <a:pt x="781002" y="0"/>
                </a:lnTo>
                <a:lnTo>
                  <a:pt x="782618" y="0"/>
                </a:lnTo>
                <a:lnTo>
                  <a:pt x="782940" y="0"/>
                </a:lnTo>
                <a:lnTo>
                  <a:pt x="782950" y="0"/>
                </a:lnTo>
                <a:lnTo>
                  <a:pt x="786886" y="0"/>
                </a:lnTo>
                <a:lnTo>
                  <a:pt x="787598" y="0"/>
                </a:lnTo>
                <a:lnTo>
                  <a:pt x="789215" y="0"/>
                </a:lnTo>
                <a:lnTo>
                  <a:pt x="789536" y="0"/>
                </a:lnTo>
                <a:lnTo>
                  <a:pt x="799614" y="0"/>
                </a:lnTo>
                <a:lnTo>
                  <a:pt x="799956" y="0"/>
                </a:lnTo>
                <a:lnTo>
                  <a:pt x="803551" y="0"/>
                </a:lnTo>
                <a:lnTo>
                  <a:pt x="806201" y="0"/>
                </a:lnTo>
                <a:lnTo>
                  <a:pt x="806211" y="0"/>
                </a:lnTo>
                <a:lnTo>
                  <a:pt x="806553" y="0"/>
                </a:lnTo>
                <a:lnTo>
                  <a:pt x="811540" y="0"/>
                </a:lnTo>
                <a:lnTo>
                  <a:pt x="813479" y="0"/>
                </a:lnTo>
                <a:lnTo>
                  <a:pt x="814190" y="0"/>
                </a:lnTo>
                <a:lnTo>
                  <a:pt x="823217" y="0"/>
                </a:lnTo>
                <a:lnTo>
                  <a:pt x="830143" y="0"/>
                </a:lnTo>
                <a:lnTo>
                  <a:pt x="830153" y="0"/>
                </a:lnTo>
                <a:lnTo>
                  <a:pt x="830475" y="0"/>
                </a:lnTo>
                <a:lnTo>
                  <a:pt x="832804" y="0"/>
                </a:lnTo>
                <a:lnTo>
                  <a:pt x="836740" y="0"/>
                </a:lnTo>
                <a:lnTo>
                  <a:pt x="847140" y="0"/>
                </a:lnTo>
                <a:lnTo>
                  <a:pt x="847480" y="0"/>
                </a:lnTo>
                <a:lnTo>
                  <a:pt x="847491" y="0"/>
                </a:lnTo>
                <a:lnTo>
                  <a:pt x="850141" y="0"/>
                </a:lnTo>
                <a:lnTo>
                  <a:pt x="853736" y="0"/>
                </a:lnTo>
                <a:lnTo>
                  <a:pt x="854077" y="0"/>
                </a:lnTo>
                <a:lnTo>
                  <a:pt x="864155" y="0"/>
                </a:lnTo>
                <a:lnTo>
                  <a:pt x="866093" y="0"/>
                </a:lnTo>
                <a:lnTo>
                  <a:pt x="866806" y="0"/>
                </a:lnTo>
                <a:lnTo>
                  <a:pt x="870741" y="0"/>
                </a:lnTo>
                <a:lnTo>
                  <a:pt x="870752" y="0"/>
                </a:lnTo>
                <a:lnTo>
                  <a:pt x="872689" y="0"/>
                </a:lnTo>
                <a:lnTo>
                  <a:pt x="873402" y="0"/>
                </a:lnTo>
                <a:lnTo>
                  <a:pt x="877678" y="0"/>
                </a:lnTo>
                <a:lnTo>
                  <a:pt x="880329" y="0"/>
                </a:lnTo>
                <a:lnTo>
                  <a:pt x="889354" y="0"/>
                </a:lnTo>
                <a:lnTo>
                  <a:pt x="895015" y="0"/>
                </a:lnTo>
                <a:lnTo>
                  <a:pt x="897344" y="0"/>
                </a:lnTo>
                <a:lnTo>
                  <a:pt x="897665" y="0"/>
                </a:lnTo>
                <a:lnTo>
                  <a:pt x="911680" y="0"/>
                </a:lnTo>
                <a:lnTo>
                  <a:pt x="913618" y="0"/>
                </a:lnTo>
                <a:lnTo>
                  <a:pt x="913628" y="0"/>
                </a:lnTo>
                <a:lnTo>
                  <a:pt x="914330" y="0"/>
                </a:lnTo>
                <a:lnTo>
                  <a:pt x="914341" y="0"/>
                </a:lnTo>
                <a:lnTo>
                  <a:pt x="916278" y="0"/>
                </a:lnTo>
                <a:lnTo>
                  <a:pt x="918276" y="0"/>
                </a:lnTo>
                <a:lnTo>
                  <a:pt x="920214" y="0"/>
                </a:lnTo>
                <a:lnTo>
                  <a:pt x="920926" y="0"/>
                </a:lnTo>
                <a:lnTo>
                  <a:pt x="930292" y="0"/>
                </a:lnTo>
                <a:lnTo>
                  <a:pt x="932943" y="0"/>
                </a:lnTo>
                <a:lnTo>
                  <a:pt x="936879" y="0"/>
                </a:lnTo>
                <a:lnTo>
                  <a:pt x="936889" y="0"/>
                </a:lnTo>
                <a:lnTo>
                  <a:pt x="939539" y="0"/>
                </a:lnTo>
                <a:lnTo>
                  <a:pt x="944868" y="0"/>
                </a:lnTo>
                <a:lnTo>
                  <a:pt x="961153" y="0"/>
                </a:lnTo>
                <a:lnTo>
                  <a:pt x="961865" y="0"/>
                </a:lnTo>
                <a:lnTo>
                  <a:pt x="963482" y="0"/>
                </a:lnTo>
                <a:lnTo>
                  <a:pt x="963803" y="0"/>
                </a:lnTo>
                <a:lnTo>
                  <a:pt x="977818" y="0"/>
                </a:lnTo>
                <a:lnTo>
                  <a:pt x="980468" y="0"/>
                </a:lnTo>
                <a:lnTo>
                  <a:pt x="980477" y="0"/>
                </a:lnTo>
                <a:lnTo>
                  <a:pt x="980819" y="0"/>
                </a:lnTo>
                <a:lnTo>
                  <a:pt x="984414" y="0"/>
                </a:lnTo>
                <a:lnTo>
                  <a:pt x="987064" y="0"/>
                </a:lnTo>
                <a:lnTo>
                  <a:pt x="997484" y="0"/>
                </a:lnTo>
                <a:lnTo>
                  <a:pt x="1004080" y="0"/>
                </a:lnTo>
                <a:lnTo>
                  <a:pt x="1011007" y="0"/>
                </a:lnTo>
                <a:lnTo>
                  <a:pt x="1028343" y="0"/>
                </a:lnTo>
                <a:lnTo>
                  <a:pt x="1045008" y="0"/>
                </a:lnTo>
                <a:lnTo>
                  <a:pt x="1045019" y="0"/>
                </a:lnTo>
                <a:lnTo>
                  <a:pt x="1046956" y="0"/>
                </a:lnTo>
                <a:lnTo>
                  <a:pt x="1051604" y="0"/>
                </a:lnTo>
                <a:lnTo>
                  <a:pt x="1063621" y="0"/>
                </a:lnTo>
                <a:lnTo>
                  <a:pt x="1070217" y="0"/>
                </a:lnTo>
                <a:lnTo>
                  <a:pt x="1092543" y="0"/>
                </a:lnTo>
                <a:lnTo>
                  <a:pt x="1094481" y="0"/>
                </a:lnTo>
                <a:lnTo>
                  <a:pt x="1111146" y="0"/>
                </a:lnTo>
                <a:lnTo>
                  <a:pt x="1111155" y="0"/>
                </a:lnTo>
                <a:lnTo>
                  <a:pt x="1117742" y="0"/>
                </a:lnTo>
                <a:cubicBezTo>
                  <a:pt x="1258545" y="0"/>
                  <a:pt x="1372688" y="114144"/>
                  <a:pt x="1372688" y="254948"/>
                </a:cubicBezTo>
                <a:lnTo>
                  <a:pt x="1372687" y="254948"/>
                </a:lnTo>
                <a:cubicBezTo>
                  <a:pt x="1372687" y="395750"/>
                  <a:pt x="1258544" y="509893"/>
                  <a:pt x="1117742" y="509893"/>
                </a:cubicBezTo>
                <a:lnTo>
                  <a:pt x="1111158" y="509893"/>
                </a:lnTo>
                <a:lnTo>
                  <a:pt x="1111154" y="509893"/>
                </a:lnTo>
                <a:lnTo>
                  <a:pt x="1111145" y="509893"/>
                </a:lnTo>
                <a:lnTo>
                  <a:pt x="1092543" y="509893"/>
                </a:lnTo>
                <a:lnTo>
                  <a:pt x="1092542" y="509893"/>
                </a:lnTo>
                <a:lnTo>
                  <a:pt x="1070219" y="509893"/>
                </a:lnTo>
                <a:lnTo>
                  <a:pt x="1070217" y="509893"/>
                </a:lnTo>
                <a:lnTo>
                  <a:pt x="1063623" y="509893"/>
                </a:lnTo>
                <a:lnTo>
                  <a:pt x="1063620" y="509893"/>
                </a:lnTo>
                <a:lnTo>
                  <a:pt x="1051604" y="509893"/>
                </a:lnTo>
                <a:lnTo>
                  <a:pt x="1051603" y="509893"/>
                </a:lnTo>
                <a:lnTo>
                  <a:pt x="1045020" y="509893"/>
                </a:lnTo>
                <a:lnTo>
                  <a:pt x="1045018" y="509893"/>
                </a:lnTo>
                <a:lnTo>
                  <a:pt x="1045008" y="509893"/>
                </a:lnTo>
                <a:lnTo>
                  <a:pt x="1045007" y="509893"/>
                </a:lnTo>
                <a:lnTo>
                  <a:pt x="1011006" y="509893"/>
                </a:lnTo>
                <a:lnTo>
                  <a:pt x="1004082" y="509893"/>
                </a:lnTo>
                <a:lnTo>
                  <a:pt x="1004079" y="509893"/>
                </a:lnTo>
                <a:lnTo>
                  <a:pt x="997485" y="509893"/>
                </a:lnTo>
                <a:lnTo>
                  <a:pt x="997483" y="509893"/>
                </a:lnTo>
                <a:lnTo>
                  <a:pt x="987064" y="509893"/>
                </a:lnTo>
                <a:lnTo>
                  <a:pt x="984414" y="509893"/>
                </a:lnTo>
                <a:lnTo>
                  <a:pt x="984413" y="509893"/>
                </a:lnTo>
                <a:lnTo>
                  <a:pt x="980480" y="509893"/>
                </a:lnTo>
                <a:lnTo>
                  <a:pt x="980476" y="509893"/>
                </a:lnTo>
                <a:lnTo>
                  <a:pt x="980467" y="509893"/>
                </a:lnTo>
                <a:lnTo>
                  <a:pt x="977818" y="509893"/>
                </a:lnTo>
                <a:lnTo>
                  <a:pt x="977816" y="509893"/>
                </a:lnTo>
                <a:lnTo>
                  <a:pt x="963483" y="509893"/>
                </a:lnTo>
                <a:lnTo>
                  <a:pt x="963481" y="509893"/>
                </a:lnTo>
                <a:lnTo>
                  <a:pt x="961865" y="509893"/>
                </a:lnTo>
                <a:lnTo>
                  <a:pt x="961864" y="509893"/>
                </a:lnTo>
                <a:lnTo>
                  <a:pt x="944868" y="509893"/>
                </a:lnTo>
                <a:lnTo>
                  <a:pt x="939541" y="509893"/>
                </a:lnTo>
                <a:lnTo>
                  <a:pt x="939539" y="509893"/>
                </a:lnTo>
                <a:lnTo>
                  <a:pt x="936891" y="509893"/>
                </a:lnTo>
                <a:lnTo>
                  <a:pt x="936888" y="509893"/>
                </a:lnTo>
                <a:lnTo>
                  <a:pt x="936878" y="509893"/>
                </a:lnTo>
                <a:lnTo>
                  <a:pt x="932945" y="509893"/>
                </a:lnTo>
                <a:lnTo>
                  <a:pt x="932942" y="509893"/>
                </a:lnTo>
                <a:lnTo>
                  <a:pt x="930294" y="509893"/>
                </a:lnTo>
                <a:lnTo>
                  <a:pt x="930291" y="509893"/>
                </a:lnTo>
                <a:lnTo>
                  <a:pt x="920926" y="509893"/>
                </a:lnTo>
                <a:lnTo>
                  <a:pt x="920925" y="509893"/>
                </a:lnTo>
                <a:lnTo>
                  <a:pt x="918276" y="509893"/>
                </a:lnTo>
                <a:lnTo>
                  <a:pt x="918275" y="509893"/>
                </a:lnTo>
                <a:lnTo>
                  <a:pt x="914342" y="509893"/>
                </a:lnTo>
                <a:lnTo>
                  <a:pt x="914340" y="509893"/>
                </a:lnTo>
                <a:lnTo>
                  <a:pt x="914330" y="509893"/>
                </a:lnTo>
                <a:lnTo>
                  <a:pt x="914329" y="509893"/>
                </a:lnTo>
                <a:lnTo>
                  <a:pt x="911680" y="509893"/>
                </a:lnTo>
                <a:lnTo>
                  <a:pt x="911679" y="509893"/>
                </a:lnTo>
                <a:lnTo>
                  <a:pt x="897346" y="509893"/>
                </a:lnTo>
                <a:lnTo>
                  <a:pt x="897344" y="509893"/>
                </a:lnTo>
                <a:lnTo>
                  <a:pt x="889356" y="509893"/>
                </a:lnTo>
                <a:lnTo>
                  <a:pt x="889353" y="509893"/>
                </a:lnTo>
                <a:lnTo>
                  <a:pt x="880328" y="509893"/>
                </a:lnTo>
                <a:lnTo>
                  <a:pt x="877678" y="509893"/>
                </a:lnTo>
                <a:lnTo>
                  <a:pt x="873404" y="509893"/>
                </a:lnTo>
                <a:lnTo>
                  <a:pt x="873401" y="509893"/>
                </a:lnTo>
                <a:lnTo>
                  <a:pt x="870753" y="509893"/>
                </a:lnTo>
                <a:lnTo>
                  <a:pt x="870751" y="509893"/>
                </a:lnTo>
                <a:lnTo>
                  <a:pt x="870741" y="509893"/>
                </a:lnTo>
                <a:lnTo>
                  <a:pt x="870740" y="509893"/>
                </a:lnTo>
                <a:lnTo>
                  <a:pt x="866807" y="509893"/>
                </a:lnTo>
                <a:lnTo>
                  <a:pt x="866805" y="509893"/>
                </a:lnTo>
                <a:lnTo>
                  <a:pt x="864156" y="509893"/>
                </a:lnTo>
                <a:lnTo>
                  <a:pt x="864155" y="509893"/>
                </a:lnTo>
                <a:lnTo>
                  <a:pt x="853736" y="509893"/>
                </a:lnTo>
                <a:lnTo>
                  <a:pt x="853735" y="509893"/>
                </a:lnTo>
                <a:lnTo>
                  <a:pt x="847140" y="509893"/>
                </a:lnTo>
                <a:lnTo>
                  <a:pt x="847138" y="509893"/>
                </a:lnTo>
                <a:lnTo>
                  <a:pt x="836739" y="509893"/>
                </a:lnTo>
                <a:lnTo>
                  <a:pt x="832805" y="509893"/>
                </a:lnTo>
                <a:lnTo>
                  <a:pt x="832803" y="509893"/>
                </a:lnTo>
                <a:lnTo>
                  <a:pt x="830155" y="509893"/>
                </a:lnTo>
                <a:lnTo>
                  <a:pt x="830153" y="509893"/>
                </a:lnTo>
                <a:lnTo>
                  <a:pt x="830142" y="509893"/>
                </a:lnTo>
                <a:lnTo>
                  <a:pt x="823218" y="509893"/>
                </a:lnTo>
                <a:lnTo>
                  <a:pt x="823216" y="509893"/>
                </a:lnTo>
                <a:lnTo>
                  <a:pt x="814190" y="509893"/>
                </a:lnTo>
                <a:lnTo>
                  <a:pt x="811540" y="509893"/>
                </a:lnTo>
                <a:lnTo>
                  <a:pt x="811539" y="509893"/>
                </a:lnTo>
                <a:lnTo>
                  <a:pt x="806213" y="509893"/>
                </a:lnTo>
                <a:lnTo>
                  <a:pt x="806210" y="509893"/>
                </a:lnTo>
                <a:lnTo>
                  <a:pt x="806200" y="509893"/>
                </a:lnTo>
                <a:lnTo>
                  <a:pt x="803551" y="509893"/>
                </a:lnTo>
                <a:lnTo>
                  <a:pt x="803550" y="509893"/>
                </a:lnTo>
                <a:lnTo>
                  <a:pt x="799616" y="509893"/>
                </a:lnTo>
                <a:lnTo>
                  <a:pt x="799613" y="509893"/>
                </a:lnTo>
                <a:lnTo>
                  <a:pt x="789216" y="509893"/>
                </a:lnTo>
                <a:lnTo>
                  <a:pt x="789214" y="509893"/>
                </a:lnTo>
                <a:lnTo>
                  <a:pt x="787598" y="509893"/>
                </a:lnTo>
                <a:lnTo>
                  <a:pt x="787597" y="509893"/>
                </a:lnTo>
                <a:lnTo>
                  <a:pt x="782620" y="509893"/>
                </a:lnTo>
                <a:lnTo>
                  <a:pt x="782617" y="509893"/>
                </a:lnTo>
                <a:lnTo>
                  <a:pt x="781002" y="509893"/>
                </a:lnTo>
                <a:lnTo>
                  <a:pt x="781001" y="509893"/>
                </a:lnTo>
                <a:lnTo>
                  <a:pt x="770601" y="509893"/>
                </a:lnTo>
                <a:lnTo>
                  <a:pt x="766668" y="509893"/>
                </a:lnTo>
                <a:lnTo>
                  <a:pt x="766666" y="509893"/>
                </a:lnTo>
                <a:lnTo>
                  <a:pt x="764017" y="509893"/>
                </a:lnTo>
                <a:lnTo>
                  <a:pt x="764015" y="509893"/>
                </a:lnTo>
                <a:lnTo>
                  <a:pt x="764005" y="509893"/>
                </a:lnTo>
                <a:lnTo>
                  <a:pt x="764004" y="509893"/>
                </a:lnTo>
                <a:lnTo>
                  <a:pt x="758678" y="509893"/>
                </a:lnTo>
                <a:lnTo>
                  <a:pt x="758675" y="509893"/>
                </a:lnTo>
                <a:lnTo>
                  <a:pt x="756027" y="509893"/>
                </a:lnTo>
                <a:lnTo>
                  <a:pt x="756025" y="509893"/>
                </a:lnTo>
                <a:lnTo>
                  <a:pt x="747000" y="509893"/>
                </a:lnTo>
                <a:lnTo>
                  <a:pt x="740075" y="509893"/>
                </a:lnTo>
                <a:lnTo>
                  <a:pt x="740073" y="509893"/>
                </a:lnTo>
                <a:lnTo>
                  <a:pt x="740063" y="509893"/>
                </a:lnTo>
                <a:lnTo>
                  <a:pt x="740062" y="509893"/>
                </a:lnTo>
                <a:lnTo>
                  <a:pt x="737413" y="509893"/>
                </a:lnTo>
                <a:lnTo>
                  <a:pt x="737412" y="509893"/>
                </a:lnTo>
                <a:lnTo>
                  <a:pt x="733478" y="509893"/>
                </a:lnTo>
                <a:lnTo>
                  <a:pt x="733477" y="509893"/>
                </a:lnTo>
                <a:lnTo>
                  <a:pt x="723080" y="509893"/>
                </a:lnTo>
                <a:lnTo>
                  <a:pt x="723077" y="509893"/>
                </a:lnTo>
                <a:lnTo>
                  <a:pt x="716483" y="509893"/>
                </a:lnTo>
                <a:lnTo>
                  <a:pt x="716480" y="509893"/>
                </a:lnTo>
                <a:lnTo>
                  <a:pt x="706061" y="509893"/>
                </a:lnTo>
                <a:lnTo>
                  <a:pt x="703411" y="509893"/>
                </a:lnTo>
                <a:lnTo>
                  <a:pt x="699477" y="509893"/>
                </a:lnTo>
                <a:lnTo>
                  <a:pt x="699475" y="509893"/>
                </a:lnTo>
                <a:lnTo>
                  <a:pt x="699464" y="509893"/>
                </a:lnTo>
                <a:lnTo>
                  <a:pt x="696815" y="509893"/>
                </a:lnTo>
                <a:lnTo>
                  <a:pt x="696814" y="509893"/>
                </a:lnTo>
                <a:lnTo>
                  <a:pt x="692540" y="509893"/>
                </a:lnTo>
                <a:lnTo>
                  <a:pt x="692538" y="509893"/>
                </a:lnTo>
                <a:lnTo>
                  <a:pt x="689889" y="509893"/>
                </a:lnTo>
                <a:lnTo>
                  <a:pt x="689888" y="509893"/>
                </a:lnTo>
                <a:lnTo>
                  <a:pt x="680862" y="509893"/>
                </a:lnTo>
                <a:lnTo>
                  <a:pt x="680861" y="509893"/>
                </a:lnTo>
                <a:lnTo>
                  <a:pt x="672873" y="509893"/>
                </a:lnTo>
                <a:lnTo>
                  <a:pt x="672872" y="509893"/>
                </a:lnTo>
                <a:lnTo>
                  <a:pt x="658538" y="509893"/>
                </a:lnTo>
                <a:lnTo>
                  <a:pt x="658536" y="509893"/>
                </a:lnTo>
                <a:lnTo>
                  <a:pt x="655888" y="509893"/>
                </a:lnTo>
                <a:lnTo>
                  <a:pt x="655886" y="509893"/>
                </a:lnTo>
                <a:lnTo>
                  <a:pt x="655875" y="509893"/>
                </a:lnTo>
                <a:lnTo>
                  <a:pt x="651942" y="509893"/>
                </a:lnTo>
                <a:lnTo>
                  <a:pt x="651939" y="509893"/>
                </a:lnTo>
                <a:lnTo>
                  <a:pt x="649292" y="509893"/>
                </a:lnTo>
                <a:lnTo>
                  <a:pt x="649289" y="509893"/>
                </a:lnTo>
                <a:lnTo>
                  <a:pt x="639923" y="509893"/>
                </a:lnTo>
                <a:lnTo>
                  <a:pt x="637273" y="509893"/>
                </a:lnTo>
                <a:lnTo>
                  <a:pt x="637272" y="509893"/>
                </a:lnTo>
                <a:lnTo>
                  <a:pt x="633339" y="509893"/>
                </a:lnTo>
                <a:lnTo>
                  <a:pt x="633337" y="509893"/>
                </a:lnTo>
                <a:lnTo>
                  <a:pt x="633327" y="509893"/>
                </a:lnTo>
                <a:lnTo>
                  <a:pt x="633326" y="509893"/>
                </a:lnTo>
                <a:lnTo>
                  <a:pt x="630677" y="509893"/>
                </a:lnTo>
                <a:lnTo>
                  <a:pt x="630676" y="509893"/>
                </a:lnTo>
                <a:lnTo>
                  <a:pt x="625349" y="509893"/>
                </a:lnTo>
                <a:lnTo>
                  <a:pt x="625347" y="509893"/>
                </a:lnTo>
                <a:lnTo>
                  <a:pt x="608353" y="509893"/>
                </a:lnTo>
                <a:lnTo>
                  <a:pt x="608350" y="509893"/>
                </a:lnTo>
                <a:lnTo>
                  <a:pt x="606735" y="509893"/>
                </a:lnTo>
                <a:lnTo>
                  <a:pt x="606734" y="509893"/>
                </a:lnTo>
                <a:lnTo>
                  <a:pt x="592402" y="509893"/>
                </a:lnTo>
                <a:lnTo>
                  <a:pt x="592399" y="509893"/>
                </a:lnTo>
                <a:lnTo>
                  <a:pt x="589750" y="509893"/>
                </a:lnTo>
                <a:lnTo>
                  <a:pt x="589748" y="509893"/>
                </a:lnTo>
                <a:lnTo>
                  <a:pt x="589738" y="509893"/>
                </a:lnTo>
                <a:lnTo>
                  <a:pt x="589737" y="509893"/>
                </a:lnTo>
                <a:lnTo>
                  <a:pt x="585805" y="509893"/>
                </a:lnTo>
                <a:lnTo>
                  <a:pt x="585802" y="509893"/>
                </a:lnTo>
                <a:lnTo>
                  <a:pt x="583154" y="509893"/>
                </a:lnTo>
                <a:lnTo>
                  <a:pt x="583152" y="509893"/>
                </a:lnTo>
                <a:lnTo>
                  <a:pt x="572733" y="509893"/>
                </a:lnTo>
                <a:lnTo>
                  <a:pt x="566137" y="509893"/>
                </a:lnTo>
                <a:lnTo>
                  <a:pt x="566136" y="509893"/>
                </a:lnTo>
                <a:lnTo>
                  <a:pt x="559211" y="509893"/>
                </a:lnTo>
                <a:lnTo>
                  <a:pt x="559210" y="509893"/>
                </a:lnTo>
                <a:lnTo>
                  <a:pt x="525210" y="509893"/>
                </a:lnTo>
                <a:lnTo>
                  <a:pt x="525208" y="509893"/>
                </a:lnTo>
                <a:lnTo>
                  <a:pt x="525197" y="509893"/>
                </a:lnTo>
                <a:lnTo>
                  <a:pt x="518614" y="509893"/>
                </a:lnTo>
                <a:lnTo>
                  <a:pt x="518611" y="509893"/>
                </a:lnTo>
                <a:lnTo>
                  <a:pt x="506595" y="509893"/>
                </a:lnTo>
                <a:lnTo>
                  <a:pt x="506594" y="509893"/>
                </a:lnTo>
                <a:lnTo>
                  <a:pt x="499999" y="509893"/>
                </a:lnTo>
                <a:lnTo>
                  <a:pt x="499998" y="509893"/>
                </a:lnTo>
                <a:lnTo>
                  <a:pt x="477675" y="509893"/>
                </a:lnTo>
                <a:lnTo>
                  <a:pt x="477672" y="509893"/>
                </a:lnTo>
                <a:lnTo>
                  <a:pt x="459072" y="509893"/>
                </a:lnTo>
                <a:lnTo>
                  <a:pt x="459070" y="509893"/>
                </a:lnTo>
                <a:lnTo>
                  <a:pt x="459060" y="509893"/>
                </a:lnTo>
                <a:lnTo>
                  <a:pt x="459059" y="509893"/>
                </a:lnTo>
                <a:lnTo>
                  <a:pt x="452476" y="509893"/>
                </a:lnTo>
                <a:lnTo>
                  <a:pt x="452474" y="509893"/>
                </a:lnTo>
                <a:lnTo>
                  <a:pt x="254948" y="509892"/>
                </a:lnTo>
                <a:cubicBezTo>
                  <a:pt x="131743" y="509892"/>
                  <a:pt x="28953" y="422502"/>
                  <a:pt x="5179" y="306327"/>
                </a:cubicBezTo>
                <a:lnTo>
                  <a:pt x="0" y="254948"/>
                </a:lnTo>
                <a:lnTo>
                  <a:pt x="5179" y="203567"/>
                </a:lnTo>
                <a:cubicBezTo>
                  <a:pt x="28953" y="87392"/>
                  <a:pt x="131743" y="0"/>
                  <a:pt x="254948" y="0"/>
                </a:cubicBezTo>
                <a:close/>
              </a:path>
            </a:pathLst>
          </a:custGeom>
          <a:noFill/>
          <a:ln>
            <a:solidFill>
              <a:srgbClr val="BFBFB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938803" y="3592596"/>
            <a:ext cx="797688" cy="290683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745220" y="327804"/>
            <a:ext cx="4301233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dirty="0" smtClean="0">
                <a:solidFill>
                  <a:srgbClr val="191919">
                    <a:lumMod val="25000"/>
                    <a:lumOff val="75000"/>
                  </a:srgb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Рынки </a:t>
            </a:r>
            <a:r>
              <a:rPr kumimoji="0" lang="ru-RU" sz="1300" b="0" i="0" u="none" strike="noStrike" kern="1200" cap="none" spc="0" normalizeH="0" noProof="0" dirty="0" smtClean="0">
                <a:ln>
                  <a:noFill/>
                </a:ln>
                <a:solidFill>
                  <a:srgbClr val="191919">
                    <a:lumMod val="25000"/>
                    <a:lumOff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быт</a:t>
            </a:r>
            <a:r>
              <a:rPr lang="ru-RU" sz="1300" dirty="0">
                <a:solidFill>
                  <a:srgbClr val="191919">
                    <a:lumMod val="25000"/>
                    <a:lumOff val="75000"/>
                  </a:srgb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а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rgbClr val="191919">
                  <a:lumMod val="25000"/>
                  <a:lumOff val="7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8095" y="1383724"/>
            <a:ext cx="1187590" cy="1187590"/>
          </a:xfrm>
          <a:prstGeom prst="rect">
            <a:avLst/>
          </a:prstGeom>
        </p:spPr>
      </p:pic>
      <p:sp>
        <p:nvSpPr>
          <p:cNvPr id="27" name="Прямоугольник 26"/>
          <p:cNvSpPr/>
          <p:nvPr/>
        </p:nvSpPr>
        <p:spPr>
          <a:xfrm>
            <a:off x="745220" y="5519985"/>
            <a:ext cx="398503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1600" spc="-10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Бесплатная </a:t>
            </a:r>
            <a:r>
              <a:rPr lang="ru-RU" sz="1600" spc="-100" dirty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б</a:t>
            </a:r>
            <a:r>
              <a:rPr lang="ru-RU" sz="1600" spc="-100" dirty="0" smtClean="0"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аза проверенных производителей непродовольственных товаров и промышленной продукции со всей России</a:t>
            </a:r>
            <a:endParaRPr lang="ru-RU" sz="1600" spc="-100" dirty="0"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28" name="Прямоугольник 27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45220" y="4479601"/>
            <a:ext cx="4556754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spcBef>
                <a:spcPts val="361"/>
              </a:spcBef>
              <a:spcAft>
                <a:spcPts val="657"/>
              </a:spcAft>
              <a:defRPr/>
            </a:pPr>
            <a:r>
              <a:rPr lang="ru-RU" sz="3200" spc="-150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</a:t>
            </a:r>
            <a:r>
              <a:rPr lang="ru-RU" sz="3200" spc="-150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еестр промышленных компаний </a:t>
            </a:r>
            <a:endParaRPr lang="ru-RU" sz="3200" spc="-150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97423" y="5413049"/>
            <a:ext cx="1232231" cy="1218229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7568966" y="4244901"/>
            <a:ext cx="4372833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ерифицированных </a:t>
            </a:r>
            <a: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СП-производителей</a:t>
            </a:r>
            <a:endParaRPr lang="ru-RU" sz="1400" spc="7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025465" y="4039299"/>
            <a:ext cx="1915805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200" spc="7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gt;24000</a:t>
            </a:r>
            <a:endParaRPr lang="ru-RU" sz="3200" spc="7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6025465" y="5196978"/>
            <a:ext cx="3087003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2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озможность найти поставщика сырья, комплектующих, оборудования, инструментов и др. для своего бизнеса</a:t>
            </a:r>
            <a:endParaRPr lang="ru-RU" sz="1200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9449941" y="5196978"/>
            <a:ext cx="2159382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800"/>
              </a:spcAft>
            </a:pPr>
            <a:r>
              <a:rPr lang="ru-RU" sz="1200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озможность заявить о себе и найти новых покупателей</a:t>
            </a:r>
            <a:endParaRPr lang="ru-RU" sz="12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9" name="Рисунок 38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9940" y="4853711"/>
            <a:ext cx="245204" cy="245204"/>
          </a:xfrm>
          <a:prstGeom prst="rect">
            <a:avLst/>
          </a:prstGeom>
        </p:spPr>
      </p:pic>
      <p:pic>
        <p:nvPicPr>
          <p:cNvPr id="40" name="Рисунок 39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25465" y="4853711"/>
            <a:ext cx="245204" cy="245204"/>
          </a:xfrm>
          <a:prstGeom prst="rect">
            <a:avLst/>
          </a:prstGeom>
        </p:spPr>
      </p:pic>
      <p:cxnSp>
        <p:nvCxnSpPr>
          <p:cNvPr id="41" name="Прямая соединительная линия 40"/>
          <p:cNvCxnSpPr/>
          <p:nvPr/>
        </p:nvCxnSpPr>
        <p:spPr>
          <a:xfrm>
            <a:off x="6025465" y="3222538"/>
            <a:ext cx="5471210" cy="0"/>
          </a:xfrm>
          <a:prstGeom prst="line">
            <a:avLst/>
          </a:prstGeom>
          <a:ln w="158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6" name="Рисунок 4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87839" y="6067265"/>
            <a:ext cx="2014993" cy="611866"/>
          </a:xfrm>
          <a:prstGeom prst="rect">
            <a:avLst/>
          </a:prstGeom>
        </p:spPr>
      </p:pic>
      <p:sp>
        <p:nvSpPr>
          <p:cNvPr id="32" name="Прямоугольник 31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025465" y="3420390"/>
            <a:ext cx="581026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280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Предложение</a:t>
            </a:r>
            <a:endParaRPr lang="ru-RU" sz="2800" spc="-70" dirty="0">
              <a:gradFill>
                <a:gsLst>
                  <a:gs pos="0">
                    <a:srgbClr val="FF6464"/>
                  </a:gs>
                  <a:gs pos="100000">
                    <a:schemeClr val="bg2"/>
                  </a:gs>
                </a:gsLst>
                <a:lin ang="0" scaled="0"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5" name="Полилиния 34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49922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tx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tx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343802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20848" y="0"/>
            <a:ext cx="5960719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21430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6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433097" y="1594362"/>
            <a:ext cx="5252141" cy="10772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35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Федеральная платформа объединяет:</a:t>
            </a:r>
            <a:endParaRPr lang="ru-RU" sz="35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745221" y="3110556"/>
            <a:ext cx="4597987" cy="8309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dirty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Государственная платформа поддержки предпринимателей </a:t>
            </a:r>
            <a:r>
              <a:rPr lang="ru-RU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 </a:t>
            </a:r>
            <a:r>
              <a:rPr lang="ru-RU" dirty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тех, кто планирует начать </a:t>
            </a:r>
            <a:r>
              <a:rPr lang="ru-RU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бизнес</a:t>
            </a:r>
            <a:endParaRPr lang="ru-RU" dirty="0">
              <a:solidFill>
                <a:schemeClr val="bg1">
                  <a:lumMod val="95000"/>
                </a:schemeClr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6433097" y="2815307"/>
            <a:ext cx="5143060" cy="215443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6700" marR="2786" indent="-266700">
              <a:spcAft>
                <a:spcPts val="1200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9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осударственные сервисы</a:t>
            </a:r>
            <a:endParaRPr lang="ru-RU" sz="1900" spc="7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66700" marR="2786" indent="-266700">
              <a:spcAft>
                <a:spcPts val="1200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9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</a:t>
            </a:r>
            <a:r>
              <a:rPr lang="ru-RU" sz="19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егиональные </a:t>
            </a:r>
            <a:r>
              <a:rPr lang="ru-RU" sz="19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еры поддержки</a:t>
            </a:r>
          </a:p>
          <a:p>
            <a:pPr marL="266700" marR="2786" indent="-266700">
              <a:spcAft>
                <a:spcPts val="1200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9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изнес-сервисы </a:t>
            </a:r>
          </a:p>
          <a:p>
            <a:pPr marL="266700" marR="2786" indent="-266700">
              <a:spcAft>
                <a:spcPts val="1200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9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граммы обучения</a:t>
            </a:r>
            <a:endParaRPr lang="ru-RU" sz="1900" spc="7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266700" marR="2786" indent="-266700">
              <a:spcAft>
                <a:spcPts val="1200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9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налитику для предпринимателей</a:t>
            </a:r>
            <a:endParaRPr lang="ru-RU" sz="1900" spc="7" dirty="0">
              <a:solidFill>
                <a:srgbClr val="191919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745221" y="1130981"/>
            <a:ext cx="3539071" cy="16619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dirty="0">
                <a:gradFill>
                  <a:gsLst>
                    <a:gs pos="93000">
                      <a:schemeClr val="bg2"/>
                    </a:gs>
                    <a:gs pos="0">
                      <a:schemeClr val="accent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Цифровая платформа МСП.РФ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388475" y="5025806"/>
            <a:ext cx="5211098" cy="6771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900" spc="7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</a:t>
            </a:r>
            <a:r>
              <a:rPr lang="ru-RU" sz="19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единую </a:t>
            </a:r>
            <a:r>
              <a:rPr lang="ru-RU" sz="1900" spc="7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экосистему с универсальным</a:t>
            </a:r>
            <a:br>
              <a:rPr lang="ru-RU" sz="1900" spc="7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900" spc="7" dirty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доступом и персональным подбором </a:t>
            </a:r>
            <a:r>
              <a:rPr lang="ru-RU" sz="19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услуг</a:t>
            </a:r>
            <a:endParaRPr lang="ru-RU" sz="19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7" name="Google Shape;69;p14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2915041" y="5010694"/>
            <a:ext cx="506186" cy="489857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" name="Группа 1"/>
          <p:cNvGrpSpPr/>
          <p:nvPr/>
        </p:nvGrpSpPr>
        <p:grpSpPr>
          <a:xfrm>
            <a:off x="2946400" y="4475717"/>
            <a:ext cx="2787802" cy="1970896"/>
            <a:chOff x="2801199" y="4745216"/>
            <a:chExt cx="2933003" cy="2073549"/>
          </a:xfrm>
        </p:grpSpPr>
        <p:grpSp>
          <p:nvGrpSpPr>
            <p:cNvPr id="21" name="Google Shape;70;p14"/>
            <p:cNvGrpSpPr/>
            <p:nvPr/>
          </p:nvGrpSpPr>
          <p:grpSpPr>
            <a:xfrm>
              <a:off x="2801199" y="4906135"/>
              <a:ext cx="2933003" cy="1912630"/>
              <a:chOff x="429387" y="1653454"/>
              <a:chExt cx="5655896" cy="3442703"/>
            </a:xfrm>
          </p:grpSpPr>
          <p:pic>
            <p:nvPicPr>
              <p:cNvPr id="22" name="Google Shape;71;p14"/>
              <p:cNvPicPr preferRelativeResize="0"/>
              <p:nvPr/>
            </p:nvPicPr>
            <p:blipFill rotWithShape="1">
              <a:blip r:embed="rId3">
                <a:alphaModFix/>
              </a:blip>
              <a:srcRect l="13197" t="18641" r="11772" b="15368"/>
              <a:stretch/>
            </p:blipFill>
            <p:spPr>
              <a:xfrm>
                <a:off x="429387" y="1653454"/>
                <a:ext cx="5655896" cy="3442703"/>
              </a:xfrm>
              <a:prstGeom prst="rect">
                <a:avLst/>
              </a:prstGeom>
              <a:noFill/>
              <a:ln>
                <a:noFill/>
              </a:ln>
            </p:spPr>
          </p:pic>
          <p:pic>
            <p:nvPicPr>
              <p:cNvPr id="25" name="Google Shape;72;p14"/>
              <p:cNvPicPr preferRelativeResize="0"/>
              <p:nvPr/>
            </p:nvPicPr>
            <p:blipFill rotWithShape="1">
              <a:blip r:embed="rId4">
                <a:alphaModFix/>
              </a:blip>
              <a:srcRect b="31134"/>
              <a:stretch/>
            </p:blipFill>
            <p:spPr>
              <a:xfrm>
                <a:off x="1018662" y="1917126"/>
                <a:ext cx="4333023" cy="2792450"/>
              </a:xfrm>
              <a:prstGeom prst="rect">
                <a:avLst/>
              </a:prstGeom>
              <a:noFill/>
              <a:ln>
                <a:noFill/>
              </a:ln>
            </p:spPr>
          </p:pic>
        </p:grpSp>
        <p:pic>
          <p:nvPicPr>
            <p:cNvPr id="26" name="Google Shape;73;p14"/>
            <p:cNvPicPr preferRelativeResize="0"/>
            <p:nvPr/>
          </p:nvPicPr>
          <p:blipFill>
            <a:blip r:embed="rId5">
              <a:alphaModFix/>
            </a:blip>
            <a:stretch>
              <a:fillRect/>
            </a:stretch>
          </p:blipFill>
          <p:spPr>
            <a:xfrm rot="1487340">
              <a:off x="4532002" y="4745216"/>
              <a:ext cx="604456" cy="536338"/>
            </a:xfrm>
            <a:prstGeom prst="rect">
              <a:avLst/>
            </a:prstGeom>
            <a:noFill/>
            <a:ln>
              <a:noFill/>
            </a:ln>
          </p:spPr>
        </p:pic>
      </p:grpSp>
      <p:pic>
        <p:nvPicPr>
          <p:cNvPr id="30" name="Рисунок 2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pic>
        <p:nvPicPr>
          <p:cNvPr id="27" name="Изображение" descr="Изображение"/>
          <p:cNvPicPr>
            <a:picLocks noChangeAspect="1"/>
          </p:cNvPicPr>
          <p:nvPr/>
        </p:nvPicPr>
        <p:blipFill>
          <a:blip r:embed="rId7"/>
          <a:stretch/>
        </p:blipFill>
        <p:spPr>
          <a:xfrm>
            <a:off x="7701769" y="261759"/>
            <a:ext cx="1230582" cy="297609"/>
          </a:xfrm>
          <a:prstGeom prst="rect">
            <a:avLst/>
          </a:prstGeom>
          <a:ln w="12600">
            <a:noFill/>
          </a:ln>
        </p:spPr>
      </p:pic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0900742" y="306999"/>
            <a:ext cx="604745" cy="322513"/>
          </a:xfrm>
          <a:prstGeom prst="rect">
            <a:avLst/>
          </a:prstGeom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9504" y="161385"/>
            <a:ext cx="1709823" cy="515512"/>
          </a:xfrm>
          <a:prstGeom prst="rect">
            <a:avLst/>
          </a:prstGeom>
        </p:spPr>
      </p:pic>
      <p:pic>
        <p:nvPicPr>
          <p:cNvPr id="35" name="Picture 2">
            <a:extLst>
              <a:ext uri="{FF2B5EF4-FFF2-40B4-BE49-F238E27FC236}">
                <a16:creationId xmlns:a16="http://schemas.microsoft.com/office/drawing/2014/main" id="{0844259C-06CE-9A12-559E-66E587FA30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8658" y="153385"/>
            <a:ext cx="986557" cy="986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6" name="Прямоугольник 35"/>
          <p:cNvSpPr/>
          <p:nvPr/>
        </p:nvSpPr>
        <p:spPr>
          <a:xfrm>
            <a:off x="745221" y="6234468"/>
            <a:ext cx="1976054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1746" lvl="0" indent="0" algn="l" defTabSz="914400" rtl="0" eaLnBrk="1" fontAlgn="auto" latinLnBrk="0" hangingPunct="1">
              <a:lnSpc>
                <a:spcPct val="100000"/>
              </a:lnSpc>
              <a:spcBef>
                <a:spcPts val="226"/>
              </a:spcBef>
              <a:spcAft>
                <a:spcPts val="41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3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о состоянию на </a:t>
            </a:r>
            <a:r>
              <a:rPr lang="ru-RU" sz="1200" spc="3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5</a:t>
            </a:r>
            <a:r>
              <a:rPr kumimoji="0" lang="ru-RU" sz="12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08.2022</a:t>
            </a:r>
            <a:endParaRPr kumimoji="0" lang="ru-RU" sz="1200" b="0" i="0" u="none" strike="noStrike" kern="1200" cap="none" spc="3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8" name="Полилиния 37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51954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25936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Рисунок 59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913"/>
          <a:stretch/>
        </p:blipFill>
        <p:spPr>
          <a:xfrm>
            <a:off x="6629539" y="898354"/>
            <a:ext cx="5562461" cy="5984024"/>
          </a:xfrm>
          <a:prstGeom prst="rect">
            <a:avLst/>
          </a:prstGeom>
        </p:spPr>
      </p:pic>
      <p:sp>
        <p:nvSpPr>
          <p:cNvPr id="34" name="Прямоугольник 33"/>
          <p:cNvSpPr/>
          <p:nvPr/>
        </p:nvSpPr>
        <p:spPr>
          <a:xfrm>
            <a:off x="-28907" y="0"/>
            <a:ext cx="6211993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21430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 smtClean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7</a:t>
            </a:r>
            <a:endParaRPr lang="ru-RU" sz="1200" dirty="0">
              <a:solidFill>
                <a:schemeClr val="tx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8" name="Изображение" descr="Изображение"/>
          <p:cNvPicPr>
            <a:picLocks noChangeAspect="1"/>
          </p:cNvPicPr>
          <p:nvPr/>
        </p:nvPicPr>
        <p:blipFill>
          <a:blip r:embed="rId3"/>
          <a:stretch/>
        </p:blipFill>
        <p:spPr>
          <a:xfrm>
            <a:off x="7701769" y="261759"/>
            <a:ext cx="1230582" cy="297609"/>
          </a:xfrm>
          <a:prstGeom prst="rect">
            <a:avLst/>
          </a:prstGeom>
          <a:ln w="12600">
            <a:noFill/>
          </a:ln>
        </p:spPr>
      </p:pic>
      <p:sp>
        <p:nvSpPr>
          <p:cNvPr id="31" name="Прямоугольник 30"/>
          <p:cNvSpPr/>
          <p:nvPr/>
        </p:nvSpPr>
        <p:spPr>
          <a:xfrm>
            <a:off x="745221" y="6234468"/>
            <a:ext cx="1976054" cy="184666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marL="0" marR="1746" lvl="0" indent="0" algn="l" defTabSz="914400" rtl="0" eaLnBrk="1" fontAlgn="auto" latinLnBrk="0" hangingPunct="1">
              <a:lnSpc>
                <a:spcPct val="100000"/>
              </a:lnSpc>
              <a:spcBef>
                <a:spcPts val="226"/>
              </a:spcBef>
              <a:spcAft>
                <a:spcPts val="41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3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о состоянию на </a:t>
            </a:r>
            <a:r>
              <a:rPr lang="ru-RU" sz="1200" spc="3" noProof="0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5</a:t>
            </a:r>
            <a:r>
              <a:rPr kumimoji="0" lang="ru-RU" sz="12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08.2022</a:t>
            </a:r>
            <a:endParaRPr kumimoji="0" lang="ru-RU" sz="1200" b="0" i="0" u="none" strike="noStrike" kern="1200" cap="none" spc="3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745221" y="304752"/>
            <a:ext cx="6294162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sz="1300" dirty="0">
                <a:solidFill>
                  <a:schemeClr val="bg1">
                    <a:lumMod val="50000"/>
                  </a:schemeClr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Цифровая платформа МСП.РФ</a:t>
            </a:r>
          </a:p>
        </p:txBody>
      </p:sp>
      <p:sp>
        <p:nvSpPr>
          <p:cNvPr id="56" name="Прямоугольник 55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45221" y="912912"/>
            <a:ext cx="563645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45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9</a:t>
            </a:r>
            <a:endParaRPr lang="ru-RU" sz="45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745221" y="1582326"/>
            <a:ext cx="2868836" cy="8797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</a:t>
            </a:r>
            <a:r>
              <a:rPr lang="ru-RU" sz="1600" spc="7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ервисов-помощников доступны </a:t>
            </a:r>
            <a:r>
              <a:rPr lang="ru-RU" sz="1600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 платформе</a:t>
            </a:r>
          </a:p>
          <a:p>
            <a:pPr marR="2786">
              <a:spcBef>
                <a:spcPts val="361"/>
              </a:spcBef>
              <a:spcAft>
                <a:spcPts val="657"/>
              </a:spcAft>
            </a:pPr>
            <a:endParaRPr lang="ru-RU" sz="1600" spc="7" dirty="0">
              <a:solidFill>
                <a:schemeClr val="bg1">
                  <a:lumMod val="8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0900742" y="306999"/>
            <a:ext cx="604745" cy="322513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29504" y="161385"/>
            <a:ext cx="1709823" cy="515512"/>
          </a:xfrm>
          <a:prstGeom prst="rect">
            <a:avLst/>
          </a:prstGeom>
        </p:spPr>
      </p:pic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3737856" y="1034176"/>
            <a:ext cx="2077533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1400" spc="7" dirty="0" smtClean="0">
                <a:gradFill>
                  <a:gsLst>
                    <a:gs pos="100000">
                      <a:schemeClr val="bg2"/>
                    </a:gs>
                    <a:gs pos="0">
                      <a:srgbClr val="FF6464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Доступны </a:t>
            </a:r>
            <a:r>
              <a:rPr lang="en-US" sz="1400" spc="7" dirty="0" smtClean="0">
                <a:gradFill>
                  <a:gsLst>
                    <a:gs pos="100000">
                      <a:schemeClr val="bg2"/>
                    </a:gs>
                    <a:gs pos="0">
                      <a:srgbClr val="FF6464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/>
            </a:r>
            <a:br>
              <a:rPr lang="en-US" sz="1400" spc="7" dirty="0" smtClean="0">
                <a:gradFill>
                  <a:gsLst>
                    <a:gs pos="100000">
                      <a:schemeClr val="bg2"/>
                    </a:gs>
                    <a:gs pos="0">
                      <a:srgbClr val="FF6464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1400" spc="7" dirty="0" smtClean="0">
                <a:gradFill>
                  <a:gsLst>
                    <a:gs pos="100000">
                      <a:schemeClr val="bg2"/>
                    </a:gs>
                    <a:gs pos="0">
                      <a:srgbClr val="FF6464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для предпринимателей со всей России</a:t>
            </a:r>
            <a:endParaRPr lang="ru-RU" sz="1400" spc="7" dirty="0">
              <a:gradFill>
                <a:gsLst>
                  <a:gs pos="100000">
                    <a:schemeClr val="bg2"/>
                  </a:gs>
                  <a:gs pos="0">
                    <a:srgbClr val="FF6464"/>
                  </a:gs>
                </a:gsLst>
                <a:lin ang="0" scaled="0"/>
              </a:gra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18" name="Picture 2">
            <a:extLst>
              <a:ext uri="{FF2B5EF4-FFF2-40B4-BE49-F238E27FC236}">
                <a16:creationId xmlns:a16="http://schemas.microsoft.com/office/drawing/2014/main" id="{0844259C-06CE-9A12-559E-66E587FA30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68658" y="153385"/>
            <a:ext cx="986557" cy="986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Google Shape;176;p21"/>
          <p:cNvSpPr txBox="1"/>
          <p:nvPr/>
        </p:nvSpPr>
        <p:spPr>
          <a:xfrm>
            <a:off x="1091090" y="2490519"/>
            <a:ext cx="1264200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антикризисные</a:t>
            </a:r>
            <a:endParaRPr sz="90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меры поддержки</a:t>
            </a:r>
            <a:endParaRPr sz="90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pic>
        <p:nvPicPr>
          <p:cNvPr id="24" name="Google Shape;181;p21"/>
          <p:cNvPicPr preferRelativeResize="0"/>
          <p:nvPr/>
        </p:nvPicPr>
        <p:blipFill>
          <a:blip r:embed="rId7">
            <a:alphaModFix/>
          </a:blip>
          <a:stretch>
            <a:fillRect/>
          </a:stretch>
        </p:blipFill>
        <p:spPr>
          <a:xfrm>
            <a:off x="793220" y="2576058"/>
            <a:ext cx="313200" cy="290598"/>
          </a:xfrm>
          <a:prstGeom prst="rect">
            <a:avLst/>
          </a:prstGeom>
          <a:noFill/>
          <a:ln>
            <a:noFill/>
          </a:ln>
        </p:spPr>
      </p:pic>
      <p:pic>
        <p:nvPicPr>
          <p:cNvPr id="25" name="Google Shape;184;p21"/>
          <p:cNvPicPr preferRelativeResize="0"/>
          <p:nvPr/>
        </p:nvPicPr>
        <p:blipFill>
          <a:blip r:embed="rId8">
            <a:alphaModFix/>
          </a:blip>
          <a:stretch>
            <a:fillRect/>
          </a:stretch>
        </p:blipFill>
        <p:spPr>
          <a:xfrm>
            <a:off x="835678" y="3529514"/>
            <a:ext cx="228285" cy="302213"/>
          </a:xfrm>
          <a:prstGeom prst="rect">
            <a:avLst/>
          </a:prstGeom>
          <a:noFill/>
          <a:ln>
            <a:noFill/>
          </a:ln>
        </p:spPr>
      </p:pic>
      <p:sp>
        <p:nvSpPr>
          <p:cNvPr id="26" name="Google Shape;189;p21"/>
          <p:cNvSpPr txBox="1"/>
          <p:nvPr/>
        </p:nvSpPr>
        <p:spPr>
          <a:xfrm>
            <a:off x="1117280" y="3449019"/>
            <a:ext cx="1306500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законодательный дайджест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sp>
        <p:nvSpPr>
          <p:cNvPr id="27" name="Google Shape;192;p21"/>
          <p:cNvSpPr txBox="1"/>
          <p:nvPr/>
        </p:nvSpPr>
        <p:spPr>
          <a:xfrm>
            <a:off x="1117280" y="2961373"/>
            <a:ext cx="1435500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производственная </a:t>
            </a:r>
            <a:r>
              <a:rPr lang="ru" sz="900" dirty="0" smtClean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кооперация</a:t>
            </a:r>
            <a:r>
              <a:rPr lang="en-US" sz="900" dirty="0" smtClean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 </a:t>
            </a:r>
            <a:r>
              <a:rPr lang="ru" sz="900" dirty="0" smtClean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и </a:t>
            </a: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сбыт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pic>
        <p:nvPicPr>
          <p:cNvPr id="29" name="Google Shape;195;p21"/>
          <p:cNvPicPr preferRelativeResize="0"/>
          <p:nvPr/>
        </p:nvPicPr>
        <p:blipFill>
          <a:blip r:embed="rId9">
            <a:alphaModFix/>
          </a:blip>
          <a:stretch>
            <a:fillRect/>
          </a:stretch>
        </p:blipFill>
        <p:spPr>
          <a:xfrm>
            <a:off x="793820" y="3033441"/>
            <a:ext cx="312000" cy="328401"/>
          </a:xfrm>
          <a:prstGeom prst="rect">
            <a:avLst/>
          </a:prstGeom>
          <a:noFill/>
          <a:ln>
            <a:noFill/>
          </a:ln>
        </p:spPr>
      </p:pic>
      <p:pic>
        <p:nvPicPr>
          <p:cNvPr id="30" name="Google Shape;196;p21"/>
          <p:cNvPicPr preferRelativeResize="0"/>
          <p:nvPr/>
        </p:nvPicPr>
        <p:blipFill>
          <a:blip r:embed="rId10">
            <a:alphaModFix/>
          </a:blip>
          <a:stretch>
            <a:fillRect/>
          </a:stretch>
        </p:blipFill>
        <p:spPr>
          <a:xfrm>
            <a:off x="793220" y="4004752"/>
            <a:ext cx="313200" cy="329344"/>
          </a:xfrm>
          <a:prstGeom prst="rect">
            <a:avLst/>
          </a:prstGeom>
          <a:noFill/>
          <a:ln>
            <a:noFill/>
          </a:ln>
        </p:spPr>
      </p:pic>
      <p:sp>
        <p:nvSpPr>
          <p:cNvPr id="33" name="Google Shape;199;p21"/>
          <p:cNvSpPr txBox="1"/>
          <p:nvPr/>
        </p:nvSpPr>
        <p:spPr>
          <a:xfrm>
            <a:off x="1117280" y="3874824"/>
            <a:ext cx="1306500" cy="6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получение электронной подписи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sp>
        <p:nvSpPr>
          <p:cNvPr id="35" name="Google Shape;177;p21"/>
          <p:cNvSpPr txBox="1"/>
          <p:nvPr/>
        </p:nvSpPr>
        <p:spPr>
          <a:xfrm>
            <a:off x="2727653" y="3894176"/>
            <a:ext cx="1306500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выбор </a:t>
            </a:r>
            <a:r>
              <a:rPr lang="ru" sz="900" dirty="0" smtClean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налогового </a:t>
            </a: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режима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pic>
        <p:nvPicPr>
          <p:cNvPr id="36" name="Google Shape;178;p21"/>
          <p:cNvPicPr preferRelativeResize="0"/>
          <p:nvPr/>
        </p:nvPicPr>
        <p:blipFill>
          <a:blip r:embed="rId11">
            <a:alphaModFix/>
          </a:blip>
          <a:stretch>
            <a:fillRect/>
          </a:stretch>
        </p:blipFill>
        <p:spPr>
          <a:xfrm>
            <a:off x="2476874" y="4012429"/>
            <a:ext cx="220675" cy="274100"/>
          </a:xfrm>
          <a:prstGeom prst="rect">
            <a:avLst/>
          </a:prstGeom>
          <a:noFill/>
          <a:ln>
            <a:noFill/>
          </a:ln>
        </p:spPr>
      </p:pic>
      <p:sp>
        <p:nvSpPr>
          <p:cNvPr id="37" name="Google Shape;200;p21"/>
          <p:cNvSpPr txBox="1"/>
          <p:nvPr/>
        </p:nvSpPr>
        <p:spPr>
          <a:xfrm>
            <a:off x="2716356" y="3449019"/>
            <a:ext cx="1387200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конструктор документов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sp>
        <p:nvSpPr>
          <p:cNvPr id="38" name="Google Shape;202;p21"/>
          <p:cNvSpPr txBox="1"/>
          <p:nvPr/>
        </p:nvSpPr>
        <p:spPr>
          <a:xfrm>
            <a:off x="2716356" y="2961373"/>
            <a:ext cx="1435500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льготный лизинг оборудования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sp>
        <p:nvSpPr>
          <p:cNvPr id="39" name="Google Shape;204;p21"/>
          <p:cNvSpPr txBox="1"/>
          <p:nvPr/>
        </p:nvSpPr>
        <p:spPr>
          <a:xfrm>
            <a:off x="2730256" y="2490519"/>
            <a:ext cx="1306500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региональные </a:t>
            </a:r>
            <a:r>
              <a:rPr lang="ru" sz="900" dirty="0" smtClean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/>
            </a:r>
            <a:br>
              <a:rPr lang="ru" sz="900" dirty="0" smtClean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</a:br>
            <a:r>
              <a:rPr lang="ru" sz="900" dirty="0" smtClean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меры </a:t>
            </a: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поддержки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pic>
        <p:nvPicPr>
          <p:cNvPr id="40" name="Google Shape;205;p21"/>
          <p:cNvPicPr preferRelativeResize="0"/>
          <p:nvPr/>
        </p:nvPicPr>
        <p:blipFill>
          <a:blip r:embed="rId12">
            <a:alphaModFix/>
          </a:blip>
          <a:stretch>
            <a:fillRect/>
          </a:stretch>
        </p:blipFill>
        <p:spPr>
          <a:xfrm>
            <a:off x="2448611" y="2579264"/>
            <a:ext cx="277200" cy="269489"/>
          </a:xfrm>
          <a:prstGeom prst="rect">
            <a:avLst/>
          </a:prstGeom>
          <a:noFill/>
          <a:ln>
            <a:noFill/>
          </a:ln>
        </p:spPr>
      </p:pic>
      <p:pic>
        <p:nvPicPr>
          <p:cNvPr id="41" name="Google Shape;207;p21"/>
          <p:cNvPicPr preferRelativeResize="0"/>
          <p:nvPr/>
        </p:nvPicPr>
        <p:blipFill>
          <a:blip r:embed="rId13">
            <a:alphaModFix/>
          </a:blip>
          <a:stretch>
            <a:fillRect/>
          </a:stretch>
        </p:blipFill>
        <p:spPr>
          <a:xfrm>
            <a:off x="2448611" y="3012657"/>
            <a:ext cx="277200" cy="309062"/>
          </a:xfrm>
          <a:prstGeom prst="rect">
            <a:avLst/>
          </a:prstGeom>
          <a:noFill/>
          <a:ln>
            <a:noFill/>
          </a:ln>
        </p:spPr>
      </p:pic>
      <p:pic>
        <p:nvPicPr>
          <p:cNvPr id="42" name="Google Shape;210;p21"/>
          <p:cNvPicPr preferRelativeResize="0"/>
          <p:nvPr/>
        </p:nvPicPr>
        <p:blipFill>
          <a:blip r:embed="rId14">
            <a:alphaModFix/>
          </a:blip>
          <a:stretch>
            <a:fillRect/>
          </a:stretch>
        </p:blipFill>
        <p:spPr>
          <a:xfrm>
            <a:off x="2457611" y="3533817"/>
            <a:ext cx="259200" cy="319259"/>
          </a:xfrm>
          <a:prstGeom prst="rect">
            <a:avLst/>
          </a:prstGeom>
          <a:noFill/>
          <a:ln>
            <a:noFill/>
          </a:ln>
        </p:spPr>
      </p:pic>
      <p:sp>
        <p:nvSpPr>
          <p:cNvPr id="43" name="Google Shape;179;p21"/>
          <p:cNvSpPr txBox="1"/>
          <p:nvPr/>
        </p:nvSpPr>
        <p:spPr>
          <a:xfrm>
            <a:off x="4316538" y="2961373"/>
            <a:ext cx="1197900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получение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кредита онлайн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pic>
        <p:nvPicPr>
          <p:cNvPr id="44" name="Google Shape;180;p21"/>
          <p:cNvPicPr preferRelativeResize="0"/>
          <p:nvPr/>
        </p:nvPicPr>
        <p:blipFill>
          <a:blip r:embed="rId15">
            <a:alphaModFix/>
          </a:blip>
          <a:stretch>
            <a:fillRect/>
          </a:stretch>
        </p:blipFill>
        <p:spPr>
          <a:xfrm>
            <a:off x="4007565" y="3035698"/>
            <a:ext cx="311989" cy="274100"/>
          </a:xfrm>
          <a:prstGeom prst="rect">
            <a:avLst/>
          </a:prstGeom>
          <a:noFill/>
          <a:ln>
            <a:noFill/>
          </a:ln>
        </p:spPr>
      </p:pic>
      <p:pic>
        <p:nvPicPr>
          <p:cNvPr id="45" name="Google Shape;182;p21"/>
          <p:cNvPicPr preferRelativeResize="0"/>
          <p:nvPr/>
        </p:nvPicPr>
        <p:blipFill>
          <a:blip r:embed="rId16">
            <a:alphaModFix/>
          </a:blip>
          <a:stretch>
            <a:fillRect/>
          </a:stretch>
        </p:blipFill>
        <p:spPr>
          <a:xfrm>
            <a:off x="3980931" y="2545283"/>
            <a:ext cx="365256" cy="235894"/>
          </a:xfrm>
          <a:prstGeom prst="rect">
            <a:avLst/>
          </a:prstGeom>
          <a:noFill/>
          <a:ln>
            <a:noFill/>
          </a:ln>
        </p:spPr>
      </p:pic>
      <p:sp>
        <p:nvSpPr>
          <p:cNvPr id="46" name="Google Shape;186;p21"/>
          <p:cNvSpPr txBox="1"/>
          <p:nvPr/>
        </p:nvSpPr>
        <p:spPr>
          <a:xfrm>
            <a:off x="4316538" y="2490519"/>
            <a:ext cx="1197900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расчет </a:t>
            </a:r>
            <a:r>
              <a:rPr lang="ru" sz="900" dirty="0" smtClean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рейтинга </a:t>
            </a: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бизнеса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sp>
        <p:nvSpPr>
          <p:cNvPr id="47" name="Google Shape;190;p21"/>
          <p:cNvSpPr txBox="1"/>
          <p:nvPr/>
        </p:nvSpPr>
        <p:spPr>
          <a:xfrm>
            <a:off x="4317143" y="3753636"/>
            <a:ext cx="1387200" cy="6003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выбор организационно-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правовой формы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pic>
        <p:nvPicPr>
          <p:cNvPr id="48" name="Google Shape;193;p21"/>
          <p:cNvPicPr preferRelativeResize="0"/>
          <p:nvPr/>
        </p:nvPicPr>
        <p:blipFill>
          <a:blip r:embed="rId17">
            <a:alphaModFix/>
          </a:blip>
          <a:stretch>
            <a:fillRect/>
          </a:stretch>
        </p:blipFill>
        <p:spPr>
          <a:xfrm>
            <a:off x="4006959" y="3904401"/>
            <a:ext cx="313200" cy="392138"/>
          </a:xfrm>
          <a:prstGeom prst="rect">
            <a:avLst/>
          </a:prstGeom>
          <a:noFill/>
          <a:ln>
            <a:noFill/>
          </a:ln>
        </p:spPr>
      </p:pic>
      <p:sp>
        <p:nvSpPr>
          <p:cNvPr id="49" name="Google Shape;203;p21"/>
          <p:cNvSpPr txBox="1"/>
          <p:nvPr/>
        </p:nvSpPr>
        <p:spPr>
          <a:xfrm>
            <a:off x="4320901" y="3449019"/>
            <a:ext cx="1306500" cy="3231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 smtClean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бизнес-обучение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pic>
        <p:nvPicPr>
          <p:cNvPr id="50" name="Google Shape;206;p21"/>
          <p:cNvPicPr preferRelativeResize="0"/>
          <p:nvPr/>
        </p:nvPicPr>
        <p:blipFill>
          <a:blip r:embed="rId18">
            <a:alphaModFix/>
          </a:blip>
          <a:stretch>
            <a:fillRect/>
          </a:stretch>
        </p:blipFill>
        <p:spPr>
          <a:xfrm>
            <a:off x="4024952" y="3470640"/>
            <a:ext cx="277214" cy="292198"/>
          </a:xfrm>
          <a:prstGeom prst="rect">
            <a:avLst/>
          </a:prstGeom>
          <a:noFill/>
          <a:ln>
            <a:noFill/>
          </a:ln>
        </p:spPr>
      </p:pic>
      <p:pic>
        <p:nvPicPr>
          <p:cNvPr id="51" name="Google Shape;183;p21"/>
          <p:cNvPicPr preferRelativeResize="0"/>
          <p:nvPr/>
        </p:nvPicPr>
        <p:blipFill>
          <a:blip r:embed="rId19">
            <a:alphaModFix/>
          </a:blip>
          <a:stretch>
            <a:fillRect/>
          </a:stretch>
        </p:blipFill>
        <p:spPr>
          <a:xfrm>
            <a:off x="801435" y="4635004"/>
            <a:ext cx="296770" cy="231931"/>
          </a:xfrm>
          <a:prstGeom prst="rect">
            <a:avLst/>
          </a:prstGeom>
          <a:noFill/>
          <a:ln>
            <a:noFill/>
          </a:ln>
        </p:spPr>
      </p:pic>
      <p:sp>
        <p:nvSpPr>
          <p:cNvPr id="52" name="Google Shape;187;p21"/>
          <p:cNvSpPr txBox="1"/>
          <p:nvPr/>
        </p:nvSpPr>
        <p:spPr>
          <a:xfrm>
            <a:off x="1112108" y="4479323"/>
            <a:ext cx="1046100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статистика 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для бизнеса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sp>
        <p:nvSpPr>
          <p:cNvPr id="53" name="Google Shape;188;p21"/>
          <p:cNvSpPr txBox="1"/>
          <p:nvPr/>
        </p:nvSpPr>
        <p:spPr>
          <a:xfrm>
            <a:off x="4316538" y="4334438"/>
            <a:ext cx="1264200" cy="482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покупка ПО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со скидкой 50%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sp>
        <p:nvSpPr>
          <p:cNvPr id="54" name="Google Shape;191;p21"/>
          <p:cNvSpPr txBox="1"/>
          <p:nvPr/>
        </p:nvSpPr>
        <p:spPr>
          <a:xfrm>
            <a:off x="2747574" y="4334438"/>
            <a:ext cx="1197900" cy="7389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льготное кредитование инновационных компаний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pic>
        <p:nvPicPr>
          <p:cNvPr id="55" name="Google Shape;194;p21"/>
          <p:cNvPicPr preferRelativeResize="0"/>
          <p:nvPr/>
        </p:nvPicPr>
        <p:blipFill>
          <a:blip r:embed="rId20">
            <a:alphaModFix/>
          </a:blip>
          <a:stretch>
            <a:fillRect/>
          </a:stretch>
        </p:blipFill>
        <p:spPr>
          <a:xfrm>
            <a:off x="3988959" y="4463252"/>
            <a:ext cx="349200" cy="224772"/>
          </a:xfrm>
          <a:prstGeom prst="rect">
            <a:avLst/>
          </a:prstGeom>
          <a:noFill/>
          <a:ln>
            <a:noFill/>
          </a:ln>
        </p:spPr>
      </p:pic>
      <p:pic>
        <p:nvPicPr>
          <p:cNvPr id="58" name="Google Shape;197;p21"/>
          <p:cNvPicPr preferRelativeResize="0"/>
          <p:nvPr/>
        </p:nvPicPr>
        <p:blipFill>
          <a:blip r:embed="rId15">
            <a:alphaModFix/>
          </a:blip>
          <a:stretch>
            <a:fillRect/>
          </a:stretch>
        </p:blipFill>
        <p:spPr>
          <a:xfrm>
            <a:off x="2431217" y="4541043"/>
            <a:ext cx="311989" cy="274100"/>
          </a:xfrm>
          <a:prstGeom prst="rect">
            <a:avLst/>
          </a:prstGeom>
          <a:noFill/>
          <a:ln>
            <a:noFill/>
          </a:ln>
        </p:spPr>
      </p:pic>
      <p:sp>
        <p:nvSpPr>
          <p:cNvPr id="59" name="Google Shape;198;p21"/>
          <p:cNvSpPr txBox="1"/>
          <p:nvPr/>
        </p:nvSpPr>
        <p:spPr>
          <a:xfrm>
            <a:off x="4320901" y="4799484"/>
            <a:ext cx="1264200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регистрация бизнеса </a:t>
            </a:r>
            <a:r>
              <a:rPr lang="ru" sz="900" dirty="0" smtClean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онлайн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sp>
        <p:nvSpPr>
          <p:cNvPr id="61" name="Google Shape;201;p21"/>
          <p:cNvSpPr txBox="1"/>
          <p:nvPr/>
        </p:nvSpPr>
        <p:spPr>
          <a:xfrm>
            <a:off x="1108772" y="5038144"/>
            <a:ext cx="1197900" cy="461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сервис 360° — подать жалобу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pic>
        <p:nvPicPr>
          <p:cNvPr id="62" name="Google Shape;208;p21"/>
          <p:cNvPicPr preferRelativeResize="0"/>
          <p:nvPr/>
        </p:nvPicPr>
        <p:blipFill>
          <a:blip r:embed="rId21">
            <a:alphaModFix/>
          </a:blip>
          <a:stretch>
            <a:fillRect/>
          </a:stretch>
        </p:blipFill>
        <p:spPr>
          <a:xfrm>
            <a:off x="786020" y="5046609"/>
            <a:ext cx="327600" cy="402202"/>
          </a:xfrm>
          <a:prstGeom prst="rect">
            <a:avLst/>
          </a:prstGeom>
          <a:noFill/>
          <a:ln>
            <a:noFill/>
          </a:ln>
        </p:spPr>
      </p:pic>
      <p:pic>
        <p:nvPicPr>
          <p:cNvPr id="63" name="Google Shape;209;p21"/>
          <p:cNvPicPr preferRelativeResize="0"/>
          <p:nvPr/>
        </p:nvPicPr>
        <p:blipFill>
          <a:blip r:embed="rId22">
            <a:alphaModFix/>
          </a:blip>
          <a:stretch>
            <a:fillRect/>
          </a:stretch>
        </p:blipFill>
        <p:spPr>
          <a:xfrm>
            <a:off x="4024959" y="4863149"/>
            <a:ext cx="277200" cy="261269"/>
          </a:xfrm>
          <a:prstGeom prst="rect">
            <a:avLst/>
          </a:prstGeom>
          <a:noFill/>
          <a:ln>
            <a:noFill/>
          </a:ln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5988" y="5027867"/>
            <a:ext cx="402447" cy="463783"/>
          </a:xfrm>
          <a:prstGeom prst="rect">
            <a:avLst/>
          </a:prstGeom>
        </p:spPr>
      </p:pic>
      <p:sp>
        <p:nvSpPr>
          <p:cNvPr id="65" name="Google Shape;198;p21"/>
          <p:cNvSpPr txBox="1"/>
          <p:nvPr/>
        </p:nvSpPr>
        <p:spPr>
          <a:xfrm>
            <a:off x="2747406" y="5038144"/>
            <a:ext cx="1264200" cy="46163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в</a:t>
            </a:r>
            <a:r>
              <a:rPr lang="ru" sz="900" dirty="0" smtClean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итрина закупок малого объема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4330" y="5376230"/>
            <a:ext cx="358459" cy="358459"/>
          </a:xfrm>
          <a:prstGeom prst="rect">
            <a:avLst/>
          </a:prstGeom>
        </p:spPr>
      </p:pic>
      <p:sp>
        <p:nvSpPr>
          <p:cNvPr id="64" name="Google Shape;198;p21"/>
          <p:cNvSpPr txBox="1"/>
          <p:nvPr/>
        </p:nvSpPr>
        <p:spPr>
          <a:xfrm>
            <a:off x="4320901" y="5282107"/>
            <a:ext cx="1264200" cy="60013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spAutoFit/>
          </a:bodyPr>
          <a:lstStyle/>
          <a:p>
            <a:pPr lvl="0"/>
            <a:r>
              <a:rPr lang="ru-RU" sz="900" dirty="0" smtClean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автоматический </a:t>
            </a:r>
            <a:r>
              <a:rPr lang="ru-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запуск рекламы </a:t>
            </a:r>
            <a:r>
              <a:rPr lang="ru-RU" sz="900" dirty="0" smtClean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/>
            </a:r>
            <a:br>
              <a:rPr lang="ru-RU" sz="900" dirty="0" smtClean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</a:br>
            <a:r>
              <a:rPr lang="ru-RU" sz="900" dirty="0" smtClean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с </a:t>
            </a:r>
            <a:r>
              <a:rPr lang="ru-RU" sz="900" dirty="0">
                <a:solidFill>
                  <a:schemeClr val="bg1"/>
                </a:solidFill>
                <a:latin typeface="Segoe UI" panose="020B0502040204020203" pitchFamily="34" charset="0"/>
                <a:ea typeface="Montserrat Medium"/>
                <a:cs typeface="Segoe UI" panose="020B0502040204020203" pitchFamily="34" charset="0"/>
                <a:sym typeface="Montserrat Medium"/>
              </a:rPr>
              <a:t>Яндекс Бизнесом</a:t>
            </a:r>
            <a:endParaRPr sz="900" dirty="0">
              <a:solidFill>
                <a:schemeClr val="bg1"/>
              </a:solidFill>
              <a:latin typeface="Segoe UI" panose="020B0502040204020203" pitchFamily="34" charset="0"/>
              <a:ea typeface="Montserrat Medium"/>
              <a:cs typeface="Segoe UI" panose="020B0502040204020203" pitchFamily="34" charset="0"/>
              <a:sym typeface="Montserrat Medium"/>
            </a:endParaRPr>
          </a:p>
        </p:txBody>
      </p:sp>
    </p:spTree>
    <p:extLst>
      <p:ext uri="{BB962C8B-B14F-4D97-AF65-F5344CB8AC3E}">
        <p14:creationId xmlns:p14="http://schemas.microsoft.com/office/powerpoint/2010/main" val="40050226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>
            <a:off x="-58234" y="0"/>
            <a:ext cx="5823771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715202" y="844336"/>
            <a:ext cx="4597987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4800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Больше </a:t>
            </a:r>
          </a:p>
          <a:p>
            <a:r>
              <a:rPr lang="ru-RU" sz="4800" dirty="0" smtClean="0">
                <a:solidFill>
                  <a:schemeClr val="bg1">
                    <a:lumMod val="95000"/>
                  </a:schemeClr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для бизнеса</a:t>
            </a:r>
            <a:endParaRPr lang="ru-RU" sz="4800" dirty="0">
              <a:solidFill>
                <a:schemeClr val="bg1">
                  <a:lumMod val="95000"/>
                </a:schemeClr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1026533" y="306999"/>
            <a:ext cx="604745" cy="322513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528014" y="5431529"/>
            <a:ext cx="4651273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www.corpmsp.ru</a:t>
            </a:r>
            <a:endParaRPr lang="ru-RU" sz="4400" spc="7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6239011" y="844336"/>
            <a:ext cx="543966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800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ТГ-канал Александра Исаевича</a:t>
            </a:r>
            <a:endParaRPr lang="ru-RU" sz="2800" dirty="0"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898232" y="4163622"/>
            <a:ext cx="4780446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800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ТГ-канал Корпорации МСП</a:t>
            </a:r>
            <a:endParaRPr lang="ru-RU" sz="2800" dirty="0"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pic>
        <p:nvPicPr>
          <p:cNvPr id="38918" name="Picture 6" descr="http://qrcoder.ru/code/?https%3A%2F%2Ft.me%2Fisaevich_alexander&amp;4&amp;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6075" y="1297894"/>
            <a:ext cx="1858573" cy="1858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http://qrcoder.ru/code/?https%3A%2F%2Ft.me%2Fcorpmspof&amp;4&amp;0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08564" y="4543397"/>
            <a:ext cx="1915063" cy="1915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655610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53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-20848" y="1"/>
            <a:ext cx="12212848" cy="17900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745220" y="578036"/>
            <a:ext cx="103556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Финансовые меры поддержки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745220" y="1154679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200" spc="7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нтикризисные программы льготного кредитования субъектов МСП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1320384" y="2638548"/>
            <a:ext cx="2228367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>
              <a:defRPr/>
            </a:pPr>
            <a:r>
              <a:rPr lang="ru-RU" sz="2000" spc="-10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Программа </a:t>
            </a:r>
            <a:r>
              <a:rPr lang="ru-RU" sz="2000" spc="-10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«ПСК»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6445438" y="2638548"/>
            <a:ext cx="2252733" cy="307777"/>
          </a:xfrm>
          <a:prstGeom prst="rect">
            <a:avLst/>
          </a:prstGeom>
        </p:spPr>
        <p:txBody>
          <a:bodyPr wrap="none" lIns="0" tIns="0" rIns="0" bIns="0">
            <a:spAutoFit/>
          </a:bodyPr>
          <a:lstStyle/>
          <a:p>
            <a:pPr lvl="0" defTabSz="914400">
              <a:defRPr/>
            </a:pPr>
            <a:r>
              <a:rPr lang="ru-RU" sz="2000" spc="-10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Программа «1764»</a:t>
            </a:r>
          </a:p>
        </p:txBody>
      </p:sp>
      <p:graphicFrame>
        <p:nvGraphicFramePr>
          <p:cNvPr id="32" name="Таблица 3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49119038"/>
              </p:ext>
            </p:extLst>
          </p:nvPr>
        </p:nvGraphicFramePr>
        <p:xfrm>
          <a:off x="1277257" y="3016789"/>
          <a:ext cx="4808319" cy="2896243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591610">
                  <a:extLst>
                    <a:ext uri="{9D8B030D-6E8A-4147-A177-3AD203B41FA5}">
                      <a16:colId xmlns:a16="http://schemas.microsoft.com/office/drawing/2014/main" val="928335134"/>
                    </a:ext>
                  </a:extLst>
                </a:gridCol>
                <a:gridCol w="3216709">
                  <a:extLst>
                    <a:ext uri="{9D8B030D-6E8A-4147-A177-3AD203B41FA5}">
                      <a16:colId xmlns:a16="http://schemas.microsoft.com/office/drawing/2014/main" val="860185983"/>
                    </a:ext>
                  </a:extLst>
                </a:gridCol>
              </a:tblGrid>
              <a:tr h="669867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умма</a:t>
                      </a: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 </a:t>
                      </a:r>
                      <a:b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</a:b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кредита</a:t>
                      </a:r>
                      <a:endParaRPr lang="ru-RU" sz="1400" b="0" spc="-12" dirty="0" smtClean="0">
                        <a:latin typeface="Segoe UI" panose="020B0502040204020203" pitchFamily="34" charset="0"/>
                        <a:ea typeface="PT Root UI" panose="020B0303020202020204" pitchFamily="34" charset="-52"/>
                        <a:cs typeface="Segoe UI" panose="020B0502040204020203" pitchFamily="34" charset="0"/>
                      </a:endParaRPr>
                    </a:p>
                    <a:p>
                      <a:endParaRPr lang="ru-RU" sz="1400" dirty="0"/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от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3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н</a:t>
                      </a:r>
                    </a:p>
                  </a:txBody>
                  <a:tcPr marL="0" marR="0" marT="3600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2821448"/>
                  </a:ext>
                </a:extLst>
              </a:tr>
              <a:tr h="65290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до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1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рд руб.</a:t>
                      </a:r>
                    </a:p>
                  </a:txBody>
                  <a:tcPr marL="0" marR="0" marT="36000" marB="0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3000867"/>
                  </a:ext>
                </a:extLst>
              </a:tr>
              <a:tr h="8613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тавка</a:t>
                      </a:r>
                    </a:p>
                    <a:p>
                      <a:endParaRPr lang="ru-RU" sz="1400" dirty="0"/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800" b="0" kern="0" spc="-3" dirty="0" smtClean="0">
                        <a:solidFill>
                          <a:srgbClr val="292929"/>
                        </a:solidFill>
                        <a:latin typeface="Segoe UI Semibold" panose="020B0702040204020203" pitchFamily="34" charset="0"/>
                        <a:ea typeface="+mn-ea"/>
                        <a:cs typeface="Segoe UI Semibold" panose="020B0702040204020203" pitchFamily="34" charset="0"/>
                      </a:endParaRPr>
                    </a:p>
                  </a:txBody>
                  <a:tcPr marL="0" marR="0" marT="72000" marB="108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89716374"/>
                  </a:ext>
                </a:extLst>
              </a:tr>
              <a:tr h="54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цели</a:t>
                      </a:r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на инвестиционные, оборотные </a:t>
                      </a:r>
                      <a:r>
                        <a:rPr lang="en-US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/>
                      </a:r>
                      <a:br>
                        <a:rPr lang="en-US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</a:br>
                      <a:r>
                        <a:rPr lang="ru-RU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и на рефинансирование, </a:t>
                      </a:r>
                      <a:r>
                        <a:rPr lang="en-US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/>
                      </a:r>
                      <a:br>
                        <a:rPr lang="en-US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</a:br>
                      <a:r>
                        <a:rPr lang="ru-RU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ранее полученных кредитов</a:t>
                      </a:r>
                      <a:endParaRPr lang="ru-RU" sz="1400" kern="0" spc="-3" dirty="0" smtClean="0">
                        <a:solidFill>
                          <a:schemeClr val="accent2"/>
                        </a:solidFill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7928223"/>
                  </a:ext>
                </a:extLst>
              </a:tr>
            </a:tbl>
          </a:graphicData>
        </a:graphic>
      </p:graphicFrame>
      <p:graphicFrame>
        <p:nvGraphicFramePr>
          <p:cNvPr id="55" name="Таблица 5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1089219"/>
              </p:ext>
            </p:extLst>
          </p:nvPr>
        </p:nvGraphicFramePr>
        <p:xfrm>
          <a:off x="6115351" y="3016790"/>
          <a:ext cx="4985560" cy="2987195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857830">
                  <a:extLst>
                    <a:ext uri="{9D8B030D-6E8A-4147-A177-3AD203B41FA5}">
                      <a16:colId xmlns:a16="http://schemas.microsoft.com/office/drawing/2014/main" val="928335134"/>
                    </a:ext>
                  </a:extLst>
                </a:gridCol>
                <a:gridCol w="3127730">
                  <a:extLst>
                    <a:ext uri="{9D8B030D-6E8A-4147-A177-3AD203B41FA5}">
                      <a16:colId xmlns:a16="http://schemas.microsoft.com/office/drawing/2014/main" val="2726495075"/>
                    </a:ext>
                  </a:extLst>
                </a:gridCol>
              </a:tblGrid>
              <a:tr h="672768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8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умма</a:t>
                      </a: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 </a:t>
                      </a:r>
                      <a:b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</a:b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кредита</a:t>
                      </a:r>
                      <a:endParaRPr lang="ru-RU" sz="1400" b="0" spc="-12" dirty="0" smtClean="0">
                        <a:latin typeface="Segoe UI" panose="020B0502040204020203" pitchFamily="34" charset="0"/>
                        <a:ea typeface="PT Root UI" panose="020B0303020202020204" pitchFamily="34" charset="-52"/>
                        <a:cs typeface="Segoe UI" panose="020B0502040204020203" pitchFamily="34" charset="0"/>
                      </a:endParaRPr>
                    </a:p>
                    <a:p>
                      <a:pPr>
                        <a:lnSpc>
                          <a:spcPct val="80000"/>
                        </a:lnSpc>
                      </a:pPr>
                      <a:endParaRPr lang="ru-RU" sz="1400" dirty="0"/>
                    </a:p>
                  </a:txBody>
                  <a:tcPr marL="360000" marR="0" marT="7200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от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0,5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н</a:t>
                      </a:r>
                    </a:p>
                  </a:txBody>
                  <a:tcPr marL="0" marR="0" marT="3600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2821448"/>
                  </a:ext>
                </a:extLst>
              </a:tr>
              <a:tr h="648762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8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до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2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рд руб.</a:t>
                      </a:r>
                    </a:p>
                  </a:txBody>
                  <a:tcPr marL="0" marR="0" marT="36000" marB="0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3000867"/>
                  </a:ext>
                </a:extLst>
              </a:tr>
              <a:tr h="860425">
                <a:tc gridSpan="2">
                  <a:txBody>
                    <a:bodyPr/>
                    <a:lstStyle/>
                    <a:p>
                      <a:pPr marL="26670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тавк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spc="-12" dirty="0" smtClean="0">
                        <a:latin typeface="Segoe UI" panose="020B0502040204020203" pitchFamily="34" charset="0"/>
                        <a:ea typeface="PT Root UI" panose="020B0303020202020204" pitchFamily="34" charset="-52"/>
                        <a:cs typeface="Segoe UI" panose="020B0502040204020203" pitchFamily="34" charset="0"/>
                      </a:endParaRPr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89716374"/>
                  </a:ext>
                </a:extLst>
              </a:tr>
              <a:tr h="8052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цели</a:t>
                      </a:r>
                    </a:p>
                  </a:txBody>
                  <a:tcPr marL="360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на оборотные </a:t>
                      </a:r>
                      <a:br>
                        <a:rPr lang="ru-RU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</a:br>
                      <a:r>
                        <a:rPr lang="ru-RU" sz="1400" b="0" i="0" kern="1200" dirty="0" smtClean="0">
                          <a:solidFill>
                            <a:schemeClr val="tx1"/>
                          </a:solidFill>
                          <a:effectLst/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и инвестиционные</a:t>
                      </a:r>
                      <a:endParaRPr lang="ru-RU" sz="1400" dirty="0">
                        <a:latin typeface="Segoe UI Semibold" panose="020B0702040204020203" pitchFamily="34" charset="0"/>
                        <a:cs typeface="Segoe UI Semibold" panose="020B0702040204020203" pitchFamily="34" charset="0"/>
                      </a:endParaRPr>
                    </a:p>
                  </a:txBody>
                  <a:tcPr marL="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7928223"/>
                  </a:ext>
                </a:extLst>
              </a:tr>
            </a:tbl>
          </a:graphicData>
        </a:graphic>
      </p:graphicFrame>
      <p:cxnSp>
        <p:nvCxnSpPr>
          <p:cNvPr id="56" name="Прямая соединительная линия 55"/>
          <p:cNvCxnSpPr/>
          <p:nvPr/>
        </p:nvCxnSpPr>
        <p:spPr>
          <a:xfrm flipV="1">
            <a:off x="6090414" y="2121065"/>
            <a:ext cx="0" cy="4206215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7" name="Группа 56"/>
          <p:cNvGrpSpPr/>
          <p:nvPr/>
        </p:nvGrpSpPr>
        <p:grpSpPr>
          <a:xfrm>
            <a:off x="1277257" y="2085140"/>
            <a:ext cx="1891006" cy="299463"/>
            <a:chOff x="220453" y="1224457"/>
            <a:chExt cx="1891006" cy="299463"/>
          </a:xfrm>
        </p:grpSpPr>
        <p:pic>
          <p:nvPicPr>
            <p:cNvPr id="58" name="Рисунок 57">
              <a:extLst>
                <a:ext uri="{FF2B5EF4-FFF2-40B4-BE49-F238E27FC236}">
                  <a16:creationId xmlns:a16="http://schemas.microsoft.com/office/drawing/2014/main" id="{3BA5C8E5-A681-0D47-9286-EF54BA71D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538646" y="1224457"/>
              <a:ext cx="572813" cy="299463"/>
            </a:xfrm>
            <a:prstGeom prst="rect">
              <a:avLst/>
            </a:prstGeom>
          </p:spPr>
        </p:pic>
        <p:pic>
          <p:nvPicPr>
            <p:cNvPr id="59" name="Рисунок 58">
              <a:extLst>
                <a:ext uri="{FF2B5EF4-FFF2-40B4-BE49-F238E27FC236}">
                  <a16:creationId xmlns:a16="http://schemas.microsoft.com/office/drawing/2014/main" id="{4784DF0D-E9E9-9445-A0ED-50461945F9A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215" t="24187" r="6517" b="22612"/>
            <a:stretch/>
          </p:blipFill>
          <p:spPr>
            <a:xfrm>
              <a:off x="220453" y="1234710"/>
              <a:ext cx="1143957" cy="278956"/>
            </a:xfrm>
            <a:prstGeom prst="rect">
              <a:avLst/>
            </a:prstGeom>
          </p:spPr>
        </p:pic>
      </p:grpSp>
      <p:grpSp>
        <p:nvGrpSpPr>
          <p:cNvPr id="60" name="Группа 59"/>
          <p:cNvGrpSpPr/>
          <p:nvPr/>
        </p:nvGrpSpPr>
        <p:grpSpPr>
          <a:xfrm>
            <a:off x="6445438" y="2085140"/>
            <a:ext cx="1873501" cy="299463"/>
            <a:chOff x="5158001" y="470013"/>
            <a:chExt cx="1873501" cy="299463"/>
          </a:xfrm>
        </p:grpSpPr>
        <p:pic>
          <p:nvPicPr>
            <p:cNvPr id="61" name="Изображение" descr="Изображение">
              <a:extLst>
                <a:ext uri="{FF2B5EF4-FFF2-40B4-BE49-F238E27FC236}">
                  <a16:creationId xmlns:a16="http://schemas.microsoft.com/office/drawing/2014/main" id="{D719681A-D559-8A44-B064-392B6CA97FED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/>
          </p:blipFill>
          <p:spPr>
            <a:xfrm>
              <a:off x="5158001" y="493744"/>
              <a:ext cx="1041990" cy="252000"/>
            </a:xfrm>
            <a:prstGeom prst="rect">
              <a:avLst/>
            </a:prstGeom>
            <a:ln w="12600">
              <a:noFill/>
            </a:ln>
          </p:spPr>
        </p:pic>
        <p:pic>
          <p:nvPicPr>
            <p:cNvPr id="62" name="Рисунок 61">
              <a:extLst>
                <a:ext uri="{FF2B5EF4-FFF2-40B4-BE49-F238E27FC236}">
                  <a16:creationId xmlns:a16="http://schemas.microsoft.com/office/drawing/2014/main" id="{3BA5C8E5-A681-0D47-9286-EF54BA71D05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58689" y="470013"/>
              <a:ext cx="572813" cy="299463"/>
            </a:xfrm>
            <a:prstGeom prst="rect">
              <a:avLst/>
            </a:prstGeom>
          </p:spPr>
        </p:pic>
      </p:grpSp>
      <p:sp>
        <p:nvSpPr>
          <p:cNvPr id="44" name="Прямоугольник 43"/>
          <p:cNvSpPr/>
          <p:nvPr/>
        </p:nvSpPr>
        <p:spPr>
          <a:xfrm>
            <a:off x="7911773" y="4390126"/>
            <a:ext cx="3189137" cy="658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kern="0" spc="-3" dirty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до</a:t>
            </a:r>
            <a:r>
              <a:rPr lang="ru-RU" sz="3200" kern="0" spc="-3" dirty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2800" kern="0" spc="-3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0,75</a:t>
            </a:r>
            <a:r>
              <a:rPr lang="ru-RU" kern="0" spc="-3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%</a:t>
            </a:r>
            <a:r>
              <a:rPr lang="ru-RU" sz="3200" kern="0" spc="-3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endParaRPr lang="ru-RU" sz="3200" kern="0" spc="-3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58775" lvl="0">
              <a:lnSpc>
                <a:spcPct val="80000"/>
              </a:lnSpc>
              <a:defRPr/>
            </a:pPr>
            <a:r>
              <a:rPr lang="ru-RU" sz="1400" kern="0" spc="-3" dirty="0">
                <a:solidFill>
                  <a:srgbClr val="FF646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</a:t>
            </a:r>
            <a:r>
              <a:rPr lang="ru-RU" sz="1400" kern="0" spc="-3" dirty="0" smtClean="0">
                <a:solidFill>
                  <a:srgbClr val="FF646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икро/малых и средних</a:t>
            </a:r>
          </a:p>
        </p:txBody>
      </p:sp>
      <p:sp>
        <p:nvSpPr>
          <p:cNvPr id="24" name="Прямоугольник 23"/>
          <p:cNvSpPr/>
          <p:nvPr/>
        </p:nvSpPr>
        <p:spPr>
          <a:xfrm>
            <a:off x="2842869" y="4393150"/>
            <a:ext cx="3385687" cy="6586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lnSpc>
                <a:spcPct val="80000"/>
              </a:lnSpc>
              <a:defRPr/>
            </a:pPr>
            <a:r>
              <a:rPr lang="ru-RU" kern="0" spc="-3" dirty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до</a:t>
            </a:r>
            <a:r>
              <a:rPr lang="ru-RU" sz="3200" kern="0" spc="-3" dirty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2800" kern="0" spc="-3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1</a:t>
            </a:r>
            <a:r>
              <a:rPr lang="ru-RU" kern="0" spc="-3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%</a:t>
            </a:r>
            <a:r>
              <a:rPr lang="ru-RU" sz="3200" kern="0" spc="-3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endParaRPr lang="ru-RU" sz="3200" kern="0" spc="-3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358775" lvl="0">
              <a:lnSpc>
                <a:spcPct val="80000"/>
              </a:lnSpc>
              <a:defRPr/>
            </a:pPr>
            <a:r>
              <a:rPr lang="ru-RU" sz="1400" kern="0" spc="-3" dirty="0">
                <a:solidFill>
                  <a:srgbClr val="FF646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</a:t>
            </a:r>
            <a:r>
              <a:rPr lang="ru-RU" sz="1400" kern="0" spc="-3" dirty="0" smtClean="0">
                <a:solidFill>
                  <a:srgbClr val="FF6464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икро/малых и средних</a:t>
            </a:r>
          </a:p>
        </p:txBody>
      </p:sp>
      <p:pic>
        <p:nvPicPr>
          <p:cNvPr id="21" name="Рисунок 20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0901287" y="288618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000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Полилиния 20"/>
          <p:cNvSpPr/>
          <p:nvPr/>
        </p:nvSpPr>
        <p:spPr>
          <a:xfrm>
            <a:off x="4420367" y="4565612"/>
            <a:ext cx="2269916" cy="1297576"/>
          </a:xfrm>
          <a:custGeom>
            <a:avLst/>
            <a:gdLst>
              <a:gd name="connsiteX0" fmla="*/ 98177 w 2005145"/>
              <a:gd name="connsiteY0" fmla="*/ 0 h 1164476"/>
              <a:gd name="connsiteX1" fmla="*/ 1906968 w 2005145"/>
              <a:gd name="connsiteY1" fmla="*/ 0 h 1164476"/>
              <a:gd name="connsiteX2" fmla="*/ 2005145 w 2005145"/>
              <a:gd name="connsiteY2" fmla="*/ 98177 h 1164476"/>
              <a:gd name="connsiteX3" fmla="*/ 2005145 w 2005145"/>
              <a:gd name="connsiteY3" fmla="*/ 1066299 h 1164476"/>
              <a:gd name="connsiteX4" fmla="*/ 1906968 w 2005145"/>
              <a:gd name="connsiteY4" fmla="*/ 1164476 h 1164476"/>
              <a:gd name="connsiteX5" fmla="*/ 98177 w 2005145"/>
              <a:gd name="connsiteY5" fmla="*/ 1164476 h 1164476"/>
              <a:gd name="connsiteX6" fmla="*/ 0 w 2005145"/>
              <a:gd name="connsiteY6" fmla="*/ 1066299 h 1164476"/>
              <a:gd name="connsiteX7" fmla="*/ 0 w 2005145"/>
              <a:gd name="connsiteY7" fmla="*/ 98177 h 1164476"/>
              <a:gd name="connsiteX8" fmla="*/ 98177 w 2005145"/>
              <a:gd name="connsiteY8" fmla="*/ 0 h 1164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05145" h="1164476">
                <a:moveTo>
                  <a:pt x="98177" y="0"/>
                </a:moveTo>
                <a:lnTo>
                  <a:pt x="1906968" y="0"/>
                </a:lnTo>
                <a:cubicBezTo>
                  <a:pt x="1961190" y="0"/>
                  <a:pt x="2005145" y="43955"/>
                  <a:pt x="2005145" y="98177"/>
                </a:cubicBezTo>
                <a:lnTo>
                  <a:pt x="2005145" y="1066299"/>
                </a:lnTo>
                <a:cubicBezTo>
                  <a:pt x="2005145" y="1120521"/>
                  <a:pt x="1961190" y="1164476"/>
                  <a:pt x="1906968" y="1164476"/>
                </a:cubicBezTo>
                <a:lnTo>
                  <a:pt x="98177" y="1164476"/>
                </a:lnTo>
                <a:cubicBezTo>
                  <a:pt x="43955" y="1164476"/>
                  <a:pt x="0" y="1120521"/>
                  <a:pt x="0" y="1066299"/>
                </a:cubicBezTo>
                <a:lnTo>
                  <a:pt x="0" y="98177"/>
                </a:lnTo>
                <a:cubicBezTo>
                  <a:pt x="0" y="43955"/>
                  <a:pt x="43955" y="0"/>
                  <a:pt x="98177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35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-20848" y="1"/>
            <a:ext cx="12212848" cy="2136001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745220" y="2460827"/>
            <a:ext cx="1053677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800" dirty="0">
                <a:solidFill>
                  <a:schemeClr val="accent2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ддержка инвестиционного </a:t>
            </a:r>
            <a:r>
              <a:rPr lang="ru-RU" sz="2800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и проектного </a:t>
            </a:r>
            <a:r>
              <a:rPr lang="ru-RU" sz="2800" dirty="0">
                <a:solidFill>
                  <a:schemeClr val="accent2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финансирования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83566" y="260660"/>
            <a:ext cx="1607729" cy="401484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745220" y="682162"/>
            <a:ext cx="11112000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spc="-10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Механизм льготного кредитования</a:t>
            </a:r>
          </a:p>
          <a:p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</a:t>
            </a:r>
            <a:r>
              <a:rPr lang="ru-RU" sz="3600" spc="-10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риоритетных отраслей </a:t>
            </a:r>
            <a:endParaRPr lang="ru-RU" sz="2400" spc="-100" dirty="0">
              <a:gradFill>
                <a:gsLst>
                  <a:gs pos="0">
                    <a:srgbClr val="FF6464"/>
                  </a:gs>
                  <a:gs pos="100000">
                    <a:schemeClr val="bg2"/>
                  </a:gs>
                </a:gsLst>
                <a:lin ang="0" scaled="0"/>
              </a:gra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4420366" y="3195669"/>
            <a:ext cx="7207345" cy="1231106"/>
          </a:xfrm>
          <a:prstGeom prst="rect">
            <a:avLst/>
          </a:prstGeom>
        </p:spPr>
        <p:txBody>
          <a:bodyPr wrap="square" lIns="0" tIns="0" rIns="0" bIns="0" numCol="1" spcCol="144000">
            <a:spAutoFit/>
          </a:bodyPr>
          <a:lstStyle/>
          <a:p>
            <a:pPr marR="2216">
              <a:lnSpc>
                <a:spcPts val="2400"/>
              </a:lnSpc>
              <a:buClr>
                <a:schemeClr val="tx2"/>
              </a:buClr>
            </a:pP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овмещение Программы </a:t>
            </a:r>
            <a:r>
              <a:rPr lang="ru-RU" sz="1600" spc="5" dirty="0">
                <a:latin typeface="Segoe UI" panose="020B0502040204020203" pitchFamily="34" charset="0"/>
                <a:cs typeface="Segoe UI" panose="020B0502040204020203" pitchFamily="34" charset="0"/>
              </a:rPr>
              <a:t>субсидирования Минэкономразвития </a:t>
            </a: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1764 </a:t>
            </a:r>
            <a:b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5" dirty="0" smtClean="0">
                <a:latin typeface="Segoe UI" panose="020B0502040204020203" pitchFamily="34" charset="0"/>
                <a:cs typeface="Segoe UI" panose="020B0502040204020203" pitchFamily="34" charset="0"/>
              </a:rPr>
              <a:t>с </a:t>
            </a:r>
            <a:r>
              <a:rPr lang="ru-RU" sz="1600" spc="5" dirty="0">
                <a:latin typeface="Segoe UI" panose="020B0502040204020203" pitchFamily="34" charset="0"/>
                <a:cs typeface="Segoe UI" panose="020B0502040204020203" pitchFamily="34" charset="0"/>
              </a:rPr>
              <a:t>Программой стимулирования кредитования Банка России и Корпорации МСП (Программа «ПСК») – </a:t>
            </a:r>
            <a:r>
              <a:rPr lang="ru-RU" sz="1600" spc="5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гарантированная </a:t>
            </a:r>
            <a:r>
              <a:rPr lang="ru-RU" sz="1600" spc="5" dirty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льготная процентная ставка для заемщика на 5 </a:t>
            </a:r>
            <a:r>
              <a:rPr lang="ru-RU" sz="1600" spc="5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лет</a:t>
            </a:r>
            <a:endParaRPr lang="ru-RU" sz="1600" spc="5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32409" y="326729"/>
            <a:ext cx="1074855" cy="269345"/>
          </a:xfrm>
          <a:prstGeom prst="rect">
            <a:avLst/>
          </a:prstGeom>
        </p:spPr>
      </p:pic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C2AF978C-F368-C14F-AD1E-466D4FF011CB}"/>
              </a:ext>
            </a:extLst>
          </p:cNvPr>
          <p:cNvSpPr/>
          <p:nvPr/>
        </p:nvSpPr>
        <p:spPr>
          <a:xfrm>
            <a:off x="4594537" y="4732107"/>
            <a:ext cx="1112670" cy="46166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3000" kern="0" spc="-3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48</a:t>
            </a:r>
            <a:endParaRPr lang="ru-RU" sz="3000" kern="0" spc="-3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4530506" y="5157546"/>
            <a:ext cx="2014334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банков-участников</a:t>
            </a:r>
            <a:endParaRPr lang="ru-RU" sz="16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6926142" y="4531733"/>
            <a:ext cx="1825956" cy="189795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400"/>
              </a:spcAft>
            </a:pPr>
            <a:r>
              <a:rPr lang="ru-RU" sz="1600" dirty="0" smtClean="0">
                <a:latin typeface="Segoe UI Semibold" panose="020B0702040204020203" pitchFamily="34" charset="0"/>
                <a:cs typeface="Segoe UI Semibold" panose="020B0702040204020203" pitchFamily="34" charset="0"/>
              </a:rPr>
              <a:t>Приоритетные отрасли:</a:t>
            </a:r>
            <a:endParaRPr lang="ru-RU" sz="1600" dirty="0">
              <a:latin typeface="Segoe UI Semibold" panose="020B0702040204020203" pitchFamily="34" charset="0"/>
              <a:cs typeface="Segoe UI Semibold" panose="020B0702040204020203" pitchFamily="34" charset="0"/>
            </a:endParaRPr>
          </a:p>
          <a:p>
            <a:pPr marL="87313" indent="-87313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обрабатывающее </a:t>
            </a:r>
            <a:r>
              <a:rPr lang="en-US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производство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7313" indent="-87313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переработка</a:t>
            </a:r>
            <a:r>
              <a:rPr lang="en-US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сельхозпродукции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87313" indent="-87313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логистика</a:t>
            </a:r>
          </a:p>
          <a:p>
            <a:pPr marL="87313" indent="-87313">
              <a:spcAft>
                <a:spcPts val="400"/>
              </a:spcAft>
              <a:buFont typeface="Arial" panose="020B0604020202020204" pitchFamily="34" charset="0"/>
              <a:buChar char="•"/>
            </a:pPr>
            <a:r>
              <a:rPr lang="ru-RU" sz="1200" dirty="0">
                <a:latin typeface="Segoe UI" panose="020B0502040204020203" pitchFamily="34" charset="0"/>
                <a:cs typeface="Segoe UI" panose="020B0502040204020203" pitchFamily="34" charset="0"/>
              </a:rPr>
              <a:t>г</a:t>
            </a: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остиничный бизнес</a:t>
            </a:r>
            <a:endParaRPr lang="ru-RU" sz="12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0901287" y="288619"/>
            <a:ext cx="595388" cy="307659"/>
          </a:xfrm>
          <a:prstGeom prst="rect">
            <a:avLst/>
          </a:prstGeom>
        </p:spPr>
      </p:pic>
      <p:graphicFrame>
        <p:nvGraphicFramePr>
          <p:cNvPr id="25" name="Таблица 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1176929"/>
              </p:ext>
            </p:extLst>
          </p:nvPr>
        </p:nvGraphicFramePr>
        <p:xfrm>
          <a:off x="731839" y="3264336"/>
          <a:ext cx="3011876" cy="2632012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069391">
                  <a:extLst>
                    <a:ext uri="{9D8B030D-6E8A-4147-A177-3AD203B41FA5}">
                      <a16:colId xmlns:a16="http://schemas.microsoft.com/office/drawing/2014/main" val="928335134"/>
                    </a:ext>
                  </a:extLst>
                </a:gridCol>
                <a:gridCol w="1942485">
                  <a:extLst>
                    <a:ext uri="{9D8B030D-6E8A-4147-A177-3AD203B41FA5}">
                      <a16:colId xmlns:a16="http://schemas.microsoft.com/office/drawing/2014/main" val="860185983"/>
                    </a:ext>
                  </a:extLst>
                </a:gridCol>
              </a:tblGrid>
              <a:tr h="669867"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умма</a:t>
                      </a: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 </a:t>
                      </a:r>
                      <a:b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</a:br>
                      <a:r>
                        <a:rPr lang="ru-RU" sz="1400" b="0" spc="-12" baseline="0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кредита</a:t>
                      </a:r>
                      <a:endParaRPr lang="ru-RU" sz="1400" b="0" spc="-12" dirty="0" smtClean="0">
                        <a:latin typeface="Segoe UI" panose="020B0502040204020203" pitchFamily="34" charset="0"/>
                        <a:ea typeface="PT Root UI" panose="020B0303020202020204" pitchFamily="34" charset="-52"/>
                        <a:cs typeface="Segoe UI" panose="020B0502040204020203" pitchFamily="34" charset="0"/>
                      </a:endParaRPr>
                    </a:p>
                    <a:p>
                      <a:endParaRPr lang="ru-RU" sz="1400" dirty="0"/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от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50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н</a:t>
                      </a:r>
                    </a:p>
                  </a:txBody>
                  <a:tcPr marL="0" marR="0" marT="36000" marB="0" anchor="ctr">
                    <a:lnL>
                      <a:noFill/>
                    </a:lnL>
                    <a:lnR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42821448"/>
                  </a:ext>
                </a:extLst>
              </a:tr>
              <a:tr h="652908"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ru-RU" b="0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до </a:t>
                      </a:r>
                      <a:r>
                        <a:rPr lang="ru-RU" sz="2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1</a:t>
                      </a:r>
                      <a:r>
                        <a:rPr lang="ru-RU" sz="1800" b="0" kern="0" spc="-3" dirty="0" smtClean="0">
                          <a:solidFill>
                            <a:srgbClr val="292929"/>
                          </a:solidFill>
                          <a:latin typeface="Segoe UI Semibold" panose="020B0702040204020203" pitchFamily="34" charset="0"/>
                          <a:ea typeface="+mn-ea"/>
                          <a:cs typeface="Segoe UI Semibold" panose="020B0702040204020203" pitchFamily="34" charset="0"/>
                        </a:rPr>
                        <a:t> млрд руб.</a:t>
                      </a:r>
                    </a:p>
                  </a:txBody>
                  <a:tcPr marL="0" marR="0" marT="36000" marB="0">
                    <a:lnL w="12700" cmpd="sng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993000867"/>
                  </a:ext>
                </a:extLst>
              </a:tr>
              <a:tr h="72517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spc="-12" dirty="0" smtClean="0">
                          <a:latin typeface="Segoe UI" panose="020B0502040204020203" pitchFamily="34" charset="0"/>
                          <a:ea typeface="PT Root UI" panose="020B0303020202020204" pitchFamily="34" charset="-52"/>
                          <a:cs typeface="Segoe UI" panose="020B0502040204020203" pitchFamily="34" charset="0"/>
                        </a:rPr>
                        <a:t>ставка</a:t>
                      </a:r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/>
                      </a:pPr>
                      <a:r>
                        <a:rPr lang="ru-RU" sz="1800" kern="0" spc="-3" dirty="0" smtClean="0">
                          <a:solidFill>
                            <a:srgbClr val="FF6464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до</a:t>
                      </a:r>
                      <a:r>
                        <a:rPr lang="ru-RU" sz="1800" kern="0" spc="-3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2800" kern="0" spc="-3" dirty="0" smtClean="0">
                          <a:solidFill>
                            <a:srgbClr val="FF6464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4,5%</a:t>
                      </a:r>
                    </a:p>
                    <a:p>
                      <a:pPr marL="358775" lvl="0">
                        <a:lnSpc>
                          <a:spcPct val="80000"/>
                        </a:lnSpc>
                        <a:defRPr/>
                      </a:pPr>
                      <a:r>
                        <a:rPr lang="ru-RU" sz="1400" kern="0" spc="-3" dirty="0" smtClean="0">
                          <a:solidFill>
                            <a:srgbClr val="FF6464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ля микро/малых</a:t>
                      </a:r>
                    </a:p>
                  </a:txBody>
                  <a:tcPr marL="0" marR="0" marT="72000" marB="10800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89716374"/>
                  </a:ext>
                </a:extLst>
              </a:tr>
              <a:tr h="54186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spc="-12" dirty="0" smtClean="0">
                        <a:latin typeface="Segoe UI" panose="020B0502040204020203" pitchFamily="34" charset="0"/>
                        <a:ea typeface="PT Root UI" panose="020B0303020202020204" pitchFamily="34" charset="-52"/>
                        <a:cs typeface="Segoe UI" panose="020B0502040204020203" pitchFamily="34" charset="0"/>
                      </a:endParaRPr>
                    </a:p>
                  </a:txBody>
                  <a:tcPr marL="7200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lvl="0">
                        <a:lnSpc>
                          <a:spcPct val="80000"/>
                        </a:lnSpc>
                        <a:defRPr/>
                      </a:pPr>
                      <a:r>
                        <a:rPr lang="ru-RU" sz="1800" kern="0" spc="-3" dirty="0" smtClean="0">
                          <a:solidFill>
                            <a:srgbClr val="FF6464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до</a:t>
                      </a:r>
                      <a:r>
                        <a:rPr lang="ru-RU" sz="1800" kern="0" spc="-3" dirty="0" smtClean="0"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 </a:t>
                      </a:r>
                      <a:r>
                        <a:rPr lang="ru-RU" sz="2800" kern="0" spc="-3" dirty="0" smtClean="0">
                          <a:solidFill>
                            <a:srgbClr val="FF6464"/>
                          </a:solidFill>
                          <a:latin typeface="Segoe UI Semibold" panose="020B0702040204020203" pitchFamily="34" charset="0"/>
                          <a:cs typeface="Segoe UI Semibold" panose="020B0702040204020203" pitchFamily="34" charset="0"/>
                        </a:rPr>
                        <a:t>3%</a:t>
                      </a:r>
                    </a:p>
                    <a:p>
                      <a:pPr marL="358775" lvl="0">
                        <a:lnSpc>
                          <a:spcPct val="80000"/>
                        </a:lnSpc>
                        <a:defRPr/>
                      </a:pPr>
                      <a:r>
                        <a:rPr lang="ru-RU" sz="1400" kern="0" spc="-3" dirty="0" smtClean="0">
                          <a:solidFill>
                            <a:srgbClr val="FF6464"/>
                          </a:solidFill>
                          <a:latin typeface="Segoe UI" panose="020B0502040204020203" pitchFamily="34" charset="0"/>
                          <a:cs typeface="Segoe UI" panose="020B0502040204020203" pitchFamily="34" charset="0"/>
                        </a:rPr>
                        <a:t>для средних</a:t>
                      </a:r>
                    </a:p>
                  </a:txBody>
                  <a:tcPr marL="0" marR="0" marT="72000" marB="0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>
                          <a:lumMod val="9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7928223"/>
                  </a:ext>
                </a:extLst>
              </a:tr>
            </a:tbl>
          </a:graphicData>
        </a:graphic>
      </p:graphicFrame>
      <p:cxnSp>
        <p:nvCxnSpPr>
          <p:cNvPr id="27" name="Прямая соединительная линия 26"/>
          <p:cNvCxnSpPr/>
          <p:nvPr/>
        </p:nvCxnSpPr>
        <p:spPr>
          <a:xfrm flipV="1">
            <a:off x="4060225" y="3293824"/>
            <a:ext cx="0" cy="2602524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Полилиния 22"/>
          <p:cNvSpPr/>
          <p:nvPr/>
        </p:nvSpPr>
        <p:spPr>
          <a:xfrm>
            <a:off x="8951198" y="4565612"/>
            <a:ext cx="2545477" cy="1297576"/>
          </a:xfrm>
          <a:custGeom>
            <a:avLst/>
            <a:gdLst>
              <a:gd name="connsiteX0" fmla="*/ 98177 w 2005145"/>
              <a:gd name="connsiteY0" fmla="*/ 0 h 1164476"/>
              <a:gd name="connsiteX1" fmla="*/ 1906968 w 2005145"/>
              <a:gd name="connsiteY1" fmla="*/ 0 h 1164476"/>
              <a:gd name="connsiteX2" fmla="*/ 2005145 w 2005145"/>
              <a:gd name="connsiteY2" fmla="*/ 98177 h 1164476"/>
              <a:gd name="connsiteX3" fmla="*/ 2005145 w 2005145"/>
              <a:gd name="connsiteY3" fmla="*/ 1066299 h 1164476"/>
              <a:gd name="connsiteX4" fmla="*/ 1906968 w 2005145"/>
              <a:gd name="connsiteY4" fmla="*/ 1164476 h 1164476"/>
              <a:gd name="connsiteX5" fmla="*/ 98177 w 2005145"/>
              <a:gd name="connsiteY5" fmla="*/ 1164476 h 1164476"/>
              <a:gd name="connsiteX6" fmla="*/ 0 w 2005145"/>
              <a:gd name="connsiteY6" fmla="*/ 1066299 h 1164476"/>
              <a:gd name="connsiteX7" fmla="*/ 0 w 2005145"/>
              <a:gd name="connsiteY7" fmla="*/ 98177 h 1164476"/>
              <a:gd name="connsiteX8" fmla="*/ 98177 w 2005145"/>
              <a:gd name="connsiteY8" fmla="*/ 0 h 1164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005145" h="1164476">
                <a:moveTo>
                  <a:pt x="98177" y="0"/>
                </a:moveTo>
                <a:lnTo>
                  <a:pt x="1906968" y="0"/>
                </a:lnTo>
                <a:cubicBezTo>
                  <a:pt x="1961190" y="0"/>
                  <a:pt x="2005145" y="43955"/>
                  <a:pt x="2005145" y="98177"/>
                </a:cubicBezTo>
                <a:lnTo>
                  <a:pt x="2005145" y="1066299"/>
                </a:lnTo>
                <a:cubicBezTo>
                  <a:pt x="2005145" y="1120521"/>
                  <a:pt x="1961190" y="1164476"/>
                  <a:pt x="1906968" y="1164476"/>
                </a:cubicBezTo>
                <a:lnTo>
                  <a:pt x="98177" y="1164476"/>
                </a:lnTo>
                <a:cubicBezTo>
                  <a:pt x="43955" y="1164476"/>
                  <a:pt x="0" y="1120521"/>
                  <a:pt x="0" y="1066299"/>
                </a:cubicBezTo>
                <a:lnTo>
                  <a:pt x="0" y="98177"/>
                </a:lnTo>
                <a:cubicBezTo>
                  <a:pt x="0" y="43955"/>
                  <a:pt x="43955" y="0"/>
                  <a:pt x="98177" y="0"/>
                </a:cubicBezTo>
                <a:close/>
              </a:path>
            </a:pathLst>
          </a:custGeom>
          <a:noFill/>
          <a:ln>
            <a:solidFill>
              <a:schemeClr val="tx1">
                <a:lumMod val="10000"/>
                <a:lumOff val="9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C2AF978C-F368-C14F-AD1E-466D4FF011CB}"/>
              </a:ext>
            </a:extLst>
          </p:cNvPr>
          <p:cNvSpPr/>
          <p:nvPr/>
        </p:nvSpPr>
        <p:spPr>
          <a:xfrm>
            <a:off x="9230520" y="4862540"/>
            <a:ext cx="2051471" cy="73866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1600" kern="0" spc="-3" dirty="0" smtClean="0">
                <a:solidFill>
                  <a:schemeClr val="bg1">
                    <a:lumMod val="8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Центр поддержки</a:t>
            </a:r>
            <a:r>
              <a:rPr lang="en-US" sz="1600" kern="0" spc="-3" dirty="0" smtClean="0">
                <a:solidFill>
                  <a:schemeClr val="bg1">
                    <a:lumMod val="8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600" kern="0" spc="-3" dirty="0" smtClean="0">
                <a:solidFill>
                  <a:schemeClr val="bg1">
                    <a:lumMod val="85000"/>
                  </a:schemeClr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инвестиционного кредитования</a:t>
            </a:r>
            <a:endParaRPr lang="ru-RU" sz="1600" kern="0" spc="-3" dirty="0">
              <a:solidFill>
                <a:schemeClr val="bg1">
                  <a:lumMod val="85000"/>
                </a:schemeClr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3" name="Полилиния 42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9412248" y="4401950"/>
            <a:ext cx="1943587" cy="386303"/>
          </a:xfrm>
          <a:custGeom>
            <a:avLst/>
            <a:gdLst>
              <a:gd name="connsiteX0" fmla="*/ 189128 w 1943587"/>
              <a:gd name="connsiteY0" fmla="*/ 0 h 386303"/>
              <a:gd name="connsiteX1" fmla="*/ 286724 w 1943587"/>
              <a:gd name="connsiteY1" fmla="*/ 0 h 386303"/>
              <a:gd name="connsiteX2" fmla="*/ 286761 w 1943587"/>
              <a:gd name="connsiteY2" fmla="*/ 0 h 386303"/>
              <a:gd name="connsiteX3" fmla="*/ 326828 w 1943587"/>
              <a:gd name="connsiteY3" fmla="*/ 0 h 386303"/>
              <a:gd name="connsiteX4" fmla="*/ 334029 w 1943587"/>
              <a:gd name="connsiteY4" fmla="*/ 0 h 386303"/>
              <a:gd name="connsiteX5" fmla="*/ 374096 w 1943587"/>
              <a:gd name="connsiteY5" fmla="*/ 0 h 386303"/>
              <a:gd name="connsiteX6" fmla="*/ 374134 w 1943587"/>
              <a:gd name="connsiteY6" fmla="*/ 0 h 386303"/>
              <a:gd name="connsiteX7" fmla="*/ 391432 w 1943587"/>
              <a:gd name="connsiteY7" fmla="*/ 0 h 386303"/>
              <a:gd name="connsiteX8" fmla="*/ 478324 w 1943587"/>
              <a:gd name="connsiteY8" fmla="*/ 0 h 386303"/>
              <a:gd name="connsiteX9" fmla="*/ 489028 w 1943587"/>
              <a:gd name="connsiteY9" fmla="*/ 0 h 386303"/>
              <a:gd name="connsiteX10" fmla="*/ 489065 w 1943587"/>
              <a:gd name="connsiteY10" fmla="*/ 0 h 386303"/>
              <a:gd name="connsiteX11" fmla="*/ 520150 w 1943587"/>
              <a:gd name="connsiteY11" fmla="*/ 0 h 386303"/>
              <a:gd name="connsiteX12" fmla="*/ 521938 w 1943587"/>
              <a:gd name="connsiteY12" fmla="*/ 0 h 386303"/>
              <a:gd name="connsiteX13" fmla="*/ 525610 w 1943587"/>
              <a:gd name="connsiteY13" fmla="*/ 0 h 386303"/>
              <a:gd name="connsiteX14" fmla="*/ 529132 w 1943587"/>
              <a:gd name="connsiteY14" fmla="*/ 0 h 386303"/>
              <a:gd name="connsiteX15" fmla="*/ 536333 w 1943587"/>
              <a:gd name="connsiteY15" fmla="*/ 0 h 386303"/>
              <a:gd name="connsiteX16" fmla="*/ 551841 w 1943587"/>
              <a:gd name="connsiteY16" fmla="*/ 0 h 386303"/>
              <a:gd name="connsiteX17" fmla="*/ 576400 w 1943587"/>
              <a:gd name="connsiteY17" fmla="*/ 0 h 386303"/>
              <a:gd name="connsiteX18" fmla="*/ 576438 w 1943587"/>
              <a:gd name="connsiteY18" fmla="*/ 0 h 386303"/>
              <a:gd name="connsiteX19" fmla="*/ 593668 w 1943587"/>
              <a:gd name="connsiteY19" fmla="*/ 0 h 386303"/>
              <a:gd name="connsiteX20" fmla="*/ 619534 w 1943587"/>
              <a:gd name="connsiteY20" fmla="*/ 0 h 386303"/>
              <a:gd name="connsiteX21" fmla="*/ 619571 w 1943587"/>
              <a:gd name="connsiteY21" fmla="*/ 0 h 386303"/>
              <a:gd name="connsiteX22" fmla="*/ 623206 w 1943587"/>
              <a:gd name="connsiteY22" fmla="*/ 0 h 386303"/>
              <a:gd name="connsiteX23" fmla="*/ 623243 w 1943587"/>
              <a:gd name="connsiteY23" fmla="*/ 0 h 386303"/>
              <a:gd name="connsiteX24" fmla="*/ 659638 w 1943587"/>
              <a:gd name="connsiteY24" fmla="*/ 0 h 386303"/>
              <a:gd name="connsiteX25" fmla="*/ 663310 w 1943587"/>
              <a:gd name="connsiteY25" fmla="*/ 0 h 386303"/>
              <a:gd name="connsiteX26" fmla="*/ 666839 w 1943587"/>
              <a:gd name="connsiteY26" fmla="*/ 0 h 386303"/>
              <a:gd name="connsiteX27" fmla="*/ 670511 w 1943587"/>
              <a:gd name="connsiteY27" fmla="*/ 0 h 386303"/>
              <a:gd name="connsiteX28" fmla="*/ 680628 w 1943587"/>
              <a:gd name="connsiteY28" fmla="*/ 0 h 386303"/>
              <a:gd name="connsiteX29" fmla="*/ 697858 w 1943587"/>
              <a:gd name="connsiteY29" fmla="*/ 0 h 386303"/>
              <a:gd name="connsiteX30" fmla="*/ 697895 w 1943587"/>
              <a:gd name="connsiteY30" fmla="*/ 0 h 386303"/>
              <a:gd name="connsiteX31" fmla="*/ 706906 w 1943587"/>
              <a:gd name="connsiteY31" fmla="*/ 0 h 386303"/>
              <a:gd name="connsiteX32" fmla="*/ 706944 w 1943587"/>
              <a:gd name="connsiteY32" fmla="*/ 0 h 386303"/>
              <a:gd name="connsiteX33" fmla="*/ 710578 w 1943587"/>
              <a:gd name="connsiteY33" fmla="*/ 0 h 386303"/>
              <a:gd name="connsiteX34" fmla="*/ 710616 w 1943587"/>
              <a:gd name="connsiteY34" fmla="*/ 0 h 386303"/>
              <a:gd name="connsiteX35" fmla="*/ 722454 w 1943587"/>
              <a:gd name="connsiteY35" fmla="*/ 0 h 386303"/>
              <a:gd name="connsiteX36" fmla="*/ 724242 w 1943587"/>
              <a:gd name="connsiteY36" fmla="*/ 0 h 386303"/>
              <a:gd name="connsiteX37" fmla="*/ 727914 w 1943587"/>
              <a:gd name="connsiteY37" fmla="*/ 0 h 386303"/>
              <a:gd name="connsiteX38" fmla="*/ 737962 w 1943587"/>
              <a:gd name="connsiteY38" fmla="*/ 0 h 386303"/>
              <a:gd name="connsiteX39" fmla="*/ 745163 w 1943587"/>
              <a:gd name="connsiteY39" fmla="*/ 0 h 386303"/>
              <a:gd name="connsiteX40" fmla="*/ 754145 w 1943587"/>
              <a:gd name="connsiteY40" fmla="*/ 0 h 386303"/>
              <a:gd name="connsiteX41" fmla="*/ 785230 w 1943587"/>
              <a:gd name="connsiteY41" fmla="*/ 0 h 386303"/>
              <a:gd name="connsiteX42" fmla="*/ 785268 w 1943587"/>
              <a:gd name="connsiteY42" fmla="*/ 0 h 386303"/>
              <a:gd name="connsiteX43" fmla="*/ 795972 w 1943587"/>
              <a:gd name="connsiteY43" fmla="*/ 0 h 386303"/>
              <a:gd name="connsiteX44" fmla="*/ 811134 w 1943587"/>
              <a:gd name="connsiteY44" fmla="*/ 0 h 386303"/>
              <a:gd name="connsiteX45" fmla="*/ 814806 w 1943587"/>
              <a:gd name="connsiteY45" fmla="*/ 0 h 386303"/>
              <a:gd name="connsiteX46" fmla="*/ 821838 w 1943587"/>
              <a:gd name="connsiteY46" fmla="*/ 0 h 386303"/>
              <a:gd name="connsiteX47" fmla="*/ 821875 w 1943587"/>
              <a:gd name="connsiteY47" fmla="*/ 0 h 386303"/>
              <a:gd name="connsiteX48" fmla="*/ 825510 w 1943587"/>
              <a:gd name="connsiteY48" fmla="*/ 0 h 386303"/>
              <a:gd name="connsiteX49" fmla="*/ 825547 w 1943587"/>
              <a:gd name="connsiteY49" fmla="*/ 0 h 386303"/>
              <a:gd name="connsiteX50" fmla="*/ 852960 w 1943587"/>
              <a:gd name="connsiteY50" fmla="*/ 0 h 386303"/>
              <a:gd name="connsiteX51" fmla="*/ 856632 w 1943587"/>
              <a:gd name="connsiteY51" fmla="*/ 0 h 386303"/>
              <a:gd name="connsiteX52" fmla="*/ 858420 w 1943587"/>
              <a:gd name="connsiteY52" fmla="*/ 0 h 386303"/>
              <a:gd name="connsiteX53" fmla="*/ 861942 w 1943587"/>
              <a:gd name="connsiteY53" fmla="*/ 0 h 386303"/>
              <a:gd name="connsiteX54" fmla="*/ 865614 w 1943587"/>
              <a:gd name="connsiteY54" fmla="*/ 0 h 386303"/>
              <a:gd name="connsiteX55" fmla="*/ 869143 w 1943587"/>
              <a:gd name="connsiteY55" fmla="*/ 0 h 386303"/>
              <a:gd name="connsiteX56" fmla="*/ 872815 w 1943587"/>
              <a:gd name="connsiteY56" fmla="*/ 0 h 386303"/>
              <a:gd name="connsiteX57" fmla="*/ 882863 w 1943587"/>
              <a:gd name="connsiteY57" fmla="*/ 0 h 386303"/>
              <a:gd name="connsiteX58" fmla="*/ 884651 w 1943587"/>
              <a:gd name="connsiteY58" fmla="*/ 0 h 386303"/>
              <a:gd name="connsiteX59" fmla="*/ 888323 w 1943587"/>
              <a:gd name="connsiteY59" fmla="*/ 0 h 386303"/>
              <a:gd name="connsiteX60" fmla="*/ 900162 w 1943587"/>
              <a:gd name="connsiteY60" fmla="*/ 0 h 386303"/>
              <a:gd name="connsiteX61" fmla="*/ 900199 w 1943587"/>
              <a:gd name="connsiteY61" fmla="*/ 0 h 386303"/>
              <a:gd name="connsiteX62" fmla="*/ 909210 w 1943587"/>
              <a:gd name="connsiteY62" fmla="*/ 0 h 386303"/>
              <a:gd name="connsiteX63" fmla="*/ 909248 w 1943587"/>
              <a:gd name="connsiteY63" fmla="*/ 0 h 386303"/>
              <a:gd name="connsiteX64" fmla="*/ 912882 w 1943587"/>
              <a:gd name="connsiteY64" fmla="*/ 0 h 386303"/>
              <a:gd name="connsiteX65" fmla="*/ 912920 w 1943587"/>
              <a:gd name="connsiteY65" fmla="*/ 0 h 386303"/>
              <a:gd name="connsiteX66" fmla="*/ 926478 w 1943587"/>
              <a:gd name="connsiteY66" fmla="*/ 0 h 386303"/>
              <a:gd name="connsiteX67" fmla="*/ 930150 w 1943587"/>
              <a:gd name="connsiteY67" fmla="*/ 0 h 386303"/>
              <a:gd name="connsiteX68" fmla="*/ 940266 w 1943587"/>
              <a:gd name="connsiteY68" fmla="*/ 0 h 386303"/>
              <a:gd name="connsiteX69" fmla="*/ 947467 w 1943587"/>
              <a:gd name="connsiteY69" fmla="*/ 0 h 386303"/>
              <a:gd name="connsiteX70" fmla="*/ 956016 w 1943587"/>
              <a:gd name="connsiteY70" fmla="*/ 0 h 386303"/>
              <a:gd name="connsiteX71" fmla="*/ 956053 w 1943587"/>
              <a:gd name="connsiteY71" fmla="*/ 0 h 386303"/>
              <a:gd name="connsiteX72" fmla="*/ 987534 w 1943587"/>
              <a:gd name="connsiteY72" fmla="*/ 0 h 386303"/>
              <a:gd name="connsiteX73" fmla="*/ 987572 w 1943587"/>
              <a:gd name="connsiteY73" fmla="*/ 0 h 386303"/>
              <a:gd name="connsiteX74" fmla="*/ 996120 w 1943587"/>
              <a:gd name="connsiteY74" fmla="*/ 0 h 386303"/>
              <a:gd name="connsiteX75" fmla="*/ 1003321 w 1943587"/>
              <a:gd name="connsiteY75" fmla="*/ 0 h 386303"/>
              <a:gd name="connsiteX76" fmla="*/ 1013438 w 1943587"/>
              <a:gd name="connsiteY76" fmla="*/ 0 h 386303"/>
              <a:gd name="connsiteX77" fmla="*/ 1017110 w 1943587"/>
              <a:gd name="connsiteY77" fmla="*/ 0 h 386303"/>
              <a:gd name="connsiteX78" fmla="*/ 1030668 w 1943587"/>
              <a:gd name="connsiteY78" fmla="*/ 0 h 386303"/>
              <a:gd name="connsiteX79" fmla="*/ 1030705 w 1943587"/>
              <a:gd name="connsiteY79" fmla="*/ 0 h 386303"/>
              <a:gd name="connsiteX80" fmla="*/ 1034340 w 1943587"/>
              <a:gd name="connsiteY80" fmla="*/ 0 h 386303"/>
              <a:gd name="connsiteX81" fmla="*/ 1034377 w 1943587"/>
              <a:gd name="connsiteY81" fmla="*/ 0 h 386303"/>
              <a:gd name="connsiteX82" fmla="*/ 1043388 w 1943587"/>
              <a:gd name="connsiteY82" fmla="*/ 0 h 386303"/>
              <a:gd name="connsiteX83" fmla="*/ 1043426 w 1943587"/>
              <a:gd name="connsiteY83" fmla="*/ 0 h 386303"/>
              <a:gd name="connsiteX84" fmla="*/ 1055264 w 1943587"/>
              <a:gd name="connsiteY84" fmla="*/ 0 h 386303"/>
              <a:gd name="connsiteX85" fmla="*/ 1058936 w 1943587"/>
              <a:gd name="connsiteY85" fmla="*/ 0 h 386303"/>
              <a:gd name="connsiteX86" fmla="*/ 1060724 w 1943587"/>
              <a:gd name="connsiteY86" fmla="*/ 0 h 386303"/>
              <a:gd name="connsiteX87" fmla="*/ 1070772 w 1943587"/>
              <a:gd name="connsiteY87" fmla="*/ 0 h 386303"/>
              <a:gd name="connsiteX88" fmla="*/ 1074444 w 1943587"/>
              <a:gd name="connsiteY88" fmla="*/ 0 h 386303"/>
              <a:gd name="connsiteX89" fmla="*/ 1077973 w 1943587"/>
              <a:gd name="connsiteY89" fmla="*/ 0 h 386303"/>
              <a:gd name="connsiteX90" fmla="*/ 1081645 w 1943587"/>
              <a:gd name="connsiteY90" fmla="*/ 0 h 386303"/>
              <a:gd name="connsiteX91" fmla="*/ 1085167 w 1943587"/>
              <a:gd name="connsiteY91" fmla="*/ 0 h 386303"/>
              <a:gd name="connsiteX92" fmla="*/ 1086955 w 1943587"/>
              <a:gd name="connsiteY92" fmla="*/ 0 h 386303"/>
              <a:gd name="connsiteX93" fmla="*/ 1090627 w 1943587"/>
              <a:gd name="connsiteY93" fmla="*/ 0 h 386303"/>
              <a:gd name="connsiteX94" fmla="*/ 1118040 w 1943587"/>
              <a:gd name="connsiteY94" fmla="*/ 0 h 386303"/>
              <a:gd name="connsiteX95" fmla="*/ 1118078 w 1943587"/>
              <a:gd name="connsiteY95" fmla="*/ 0 h 386303"/>
              <a:gd name="connsiteX96" fmla="*/ 1121712 w 1943587"/>
              <a:gd name="connsiteY96" fmla="*/ 0 h 386303"/>
              <a:gd name="connsiteX97" fmla="*/ 1121750 w 1943587"/>
              <a:gd name="connsiteY97" fmla="*/ 0 h 386303"/>
              <a:gd name="connsiteX98" fmla="*/ 1128782 w 1943587"/>
              <a:gd name="connsiteY98" fmla="*/ 0 h 386303"/>
              <a:gd name="connsiteX99" fmla="*/ 1132454 w 1943587"/>
              <a:gd name="connsiteY99" fmla="*/ 0 h 386303"/>
              <a:gd name="connsiteX100" fmla="*/ 1147616 w 1943587"/>
              <a:gd name="connsiteY100" fmla="*/ 0 h 386303"/>
              <a:gd name="connsiteX101" fmla="*/ 1158320 w 1943587"/>
              <a:gd name="connsiteY101" fmla="*/ 0 h 386303"/>
              <a:gd name="connsiteX102" fmla="*/ 1158357 w 1943587"/>
              <a:gd name="connsiteY102" fmla="*/ 0 h 386303"/>
              <a:gd name="connsiteX103" fmla="*/ 1189442 w 1943587"/>
              <a:gd name="connsiteY103" fmla="*/ 0 h 386303"/>
              <a:gd name="connsiteX104" fmla="*/ 1198424 w 1943587"/>
              <a:gd name="connsiteY104" fmla="*/ 0 h 386303"/>
              <a:gd name="connsiteX105" fmla="*/ 1205625 w 1943587"/>
              <a:gd name="connsiteY105" fmla="*/ 0 h 386303"/>
              <a:gd name="connsiteX106" fmla="*/ 1215673 w 1943587"/>
              <a:gd name="connsiteY106" fmla="*/ 0 h 386303"/>
              <a:gd name="connsiteX107" fmla="*/ 1219345 w 1943587"/>
              <a:gd name="connsiteY107" fmla="*/ 0 h 386303"/>
              <a:gd name="connsiteX108" fmla="*/ 1221133 w 1943587"/>
              <a:gd name="connsiteY108" fmla="*/ 0 h 386303"/>
              <a:gd name="connsiteX109" fmla="*/ 1232972 w 1943587"/>
              <a:gd name="connsiteY109" fmla="*/ 0 h 386303"/>
              <a:gd name="connsiteX110" fmla="*/ 1233009 w 1943587"/>
              <a:gd name="connsiteY110" fmla="*/ 0 h 386303"/>
              <a:gd name="connsiteX111" fmla="*/ 1236644 w 1943587"/>
              <a:gd name="connsiteY111" fmla="*/ 0 h 386303"/>
              <a:gd name="connsiteX112" fmla="*/ 1236681 w 1943587"/>
              <a:gd name="connsiteY112" fmla="*/ 0 h 386303"/>
              <a:gd name="connsiteX113" fmla="*/ 1245692 w 1943587"/>
              <a:gd name="connsiteY113" fmla="*/ 0 h 386303"/>
              <a:gd name="connsiteX114" fmla="*/ 1245730 w 1943587"/>
              <a:gd name="connsiteY114" fmla="*/ 0 h 386303"/>
              <a:gd name="connsiteX115" fmla="*/ 1262960 w 1943587"/>
              <a:gd name="connsiteY115" fmla="*/ 0 h 386303"/>
              <a:gd name="connsiteX116" fmla="*/ 1273076 w 1943587"/>
              <a:gd name="connsiteY116" fmla="*/ 0 h 386303"/>
              <a:gd name="connsiteX117" fmla="*/ 1276748 w 1943587"/>
              <a:gd name="connsiteY117" fmla="*/ 0 h 386303"/>
              <a:gd name="connsiteX118" fmla="*/ 1280277 w 1943587"/>
              <a:gd name="connsiteY118" fmla="*/ 0 h 386303"/>
              <a:gd name="connsiteX119" fmla="*/ 1283949 w 1943587"/>
              <a:gd name="connsiteY119" fmla="*/ 0 h 386303"/>
              <a:gd name="connsiteX120" fmla="*/ 1320344 w 1943587"/>
              <a:gd name="connsiteY120" fmla="*/ 0 h 386303"/>
              <a:gd name="connsiteX121" fmla="*/ 1320382 w 1943587"/>
              <a:gd name="connsiteY121" fmla="*/ 0 h 386303"/>
              <a:gd name="connsiteX122" fmla="*/ 1324016 w 1943587"/>
              <a:gd name="connsiteY122" fmla="*/ 0 h 386303"/>
              <a:gd name="connsiteX123" fmla="*/ 1324054 w 1943587"/>
              <a:gd name="connsiteY123" fmla="*/ 0 h 386303"/>
              <a:gd name="connsiteX124" fmla="*/ 1349920 w 1943587"/>
              <a:gd name="connsiteY124" fmla="*/ 0 h 386303"/>
              <a:gd name="connsiteX125" fmla="*/ 1367150 w 1943587"/>
              <a:gd name="connsiteY125" fmla="*/ 0 h 386303"/>
              <a:gd name="connsiteX126" fmla="*/ 1367187 w 1943587"/>
              <a:gd name="connsiteY126" fmla="*/ 0 h 386303"/>
              <a:gd name="connsiteX127" fmla="*/ 1391746 w 1943587"/>
              <a:gd name="connsiteY127" fmla="*/ 0 h 386303"/>
              <a:gd name="connsiteX128" fmla="*/ 1407254 w 1943587"/>
              <a:gd name="connsiteY128" fmla="*/ 0 h 386303"/>
              <a:gd name="connsiteX129" fmla="*/ 1414455 w 1943587"/>
              <a:gd name="connsiteY129" fmla="*/ 0 h 386303"/>
              <a:gd name="connsiteX130" fmla="*/ 1417977 w 1943587"/>
              <a:gd name="connsiteY130" fmla="*/ 0 h 386303"/>
              <a:gd name="connsiteX131" fmla="*/ 1421649 w 1943587"/>
              <a:gd name="connsiteY131" fmla="*/ 0 h 386303"/>
              <a:gd name="connsiteX132" fmla="*/ 1423437 w 1943587"/>
              <a:gd name="connsiteY132" fmla="*/ 0 h 386303"/>
              <a:gd name="connsiteX133" fmla="*/ 1454522 w 1943587"/>
              <a:gd name="connsiteY133" fmla="*/ 0 h 386303"/>
              <a:gd name="connsiteX134" fmla="*/ 1454560 w 1943587"/>
              <a:gd name="connsiteY134" fmla="*/ 0 h 386303"/>
              <a:gd name="connsiteX135" fmla="*/ 1465264 w 1943587"/>
              <a:gd name="connsiteY135" fmla="*/ 0 h 386303"/>
              <a:gd name="connsiteX136" fmla="*/ 1552155 w 1943587"/>
              <a:gd name="connsiteY136" fmla="*/ 0 h 386303"/>
              <a:gd name="connsiteX137" fmla="*/ 1569454 w 1943587"/>
              <a:gd name="connsiteY137" fmla="*/ 0 h 386303"/>
              <a:gd name="connsiteX138" fmla="*/ 1569491 w 1943587"/>
              <a:gd name="connsiteY138" fmla="*/ 0 h 386303"/>
              <a:gd name="connsiteX139" fmla="*/ 1609558 w 1943587"/>
              <a:gd name="connsiteY139" fmla="*/ 0 h 386303"/>
              <a:gd name="connsiteX140" fmla="*/ 1616759 w 1943587"/>
              <a:gd name="connsiteY140" fmla="*/ 0 h 386303"/>
              <a:gd name="connsiteX141" fmla="*/ 1656826 w 1943587"/>
              <a:gd name="connsiteY141" fmla="*/ 0 h 386303"/>
              <a:gd name="connsiteX142" fmla="*/ 1656864 w 1943587"/>
              <a:gd name="connsiteY142" fmla="*/ 0 h 386303"/>
              <a:gd name="connsiteX143" fmla="*/ 1754459 w 1943587"/>
              <a:gd name="connsiteY143" fmla="*/ 0 h 386303"/>
              <a:gd name="connsiteX144" fmla="*/ 1943587 w 1943587"/>
              <a:gd name="connsiteY144" fmla="*/ 193152 h 386303"/>
              <a:gd name="connsiteX145" fmla="*/ 1943585 w 1943587"/>
              <a:gd name="connsiteY145" fmla="*/ 193152 h 386303"/>
              <a:gd name="connsiteX146" fmla="*/ 1792574 w 1943587"/>
              <a:gd name="connsiteY146" fmla="*/ 382379 h 386303"/>
              <a:gd name="connsiteX147" fmla="*/ 1754472 w 1943587"/>
              <a:gd name="connsiteY147" fmla="*/ 386302 h 386303"/>
              <a:gd name="connsiteX148" fmla="*/ 1609566 w 1943587"/>
              <a:gd name="connsiteY148" fmla="*/ 386301 h 386303"/>
              <a:gd name="connsiteX149" fmla="*/ 1609561 w 1943587"/>
              <a:gd name="connsiteY149" fmla="*/ 386303 h 386303"/>
              <a:gd name="connsiteX150" fmla="*/ 1407259 w 1943587"/>
              <a:gd name="connsiteY150" fmla="*/ 386303 h 386303"/>
              <a:gd name="connsiteX151" fmla="*/ 1407257 w 1943587"/>
              <a:gd name="connsiteY151" fmla="*/ 386303 h 386303"/>
              <a:gd name="connsiteX152" fmla="*/ 1276752 w 1943587"/>
              <a:gd name="connsiteY152" fmla="*/ 386303 h 386303"/>
              <a:gd name="connsiteX153" fmla="*/ 1276751 w 1943587"/>
              <a:gd name="connsiteY153" fmla="*/ 386303 h 386303"/>
              <a:gd name="connsiteX154" fmla="*/ 1273079 w 1943587"/>
              <a:gd name="connsiteY154" fmla="*/ 386303 h 386303"/>
              <a:gd name="connsiteX155" fmla="*/ 1267356 w 1943587"/>
              <a:gd name="connsiteY155" fmla="*/ 386303 h 386303"/>
              <a:gd name="connsiteX156" fmla="*/ 1074448 w 1943587"/>
              <a:gd name="connsiteY156" fmla="*/ 386303 h 386303"/>
              <a:gd name="connsiteX157" fmla="*/ 1074447 w 1943587"/>
              <a:gd name="connsiteY157" fmla="*/ 386303 h 386303"/>
              <a:gd name="connsiteX158" fmla="*/ 1070775 w 1943587"/>
              <a:gd name="connsiteY158" fmla="*/ 386303 h 386303"/>
              <a:gd name="connsiteX159" fmla="*/ 1065052 w 1943587"/>
              <a:gd name="connsiteY159" fmla="*/ 386303 h 386303"/>
              <a:gd name="connsiteX160" fmla="*/ 940271 w 1943587"/>
              <a:gd name="connsiteY160" fmla="*/ 386303 h 386303"/>
              <a:gd name="connsiteX161" fmla="*/ 940269 w 1943587"/>
              <a:gd name="connsiteY161" fmla="*/ 386303 h 386303"/>
              <a:gd name="connsiteX162" fmla="*/ 737969 w 1943587"/>
              <a:gd name="connsiteY162" fmla="*/ 386302 h 386303"/>
              <a:gd name="connsiteX163" fmla="*/ 737965 w 1943587"/>
              <a:gd name="connsiteY163" fmla="*/ 386303 h 386303"/>
              <a:gd name="connsiteX164" fmla="*/ 529138 w 1943587"/>
              <a:gd name="connsiteY164" fmla="*/ 386302 h 386303"/>
              <a:gd name="connsiteX165" fmla="*/ 529138 w 1943587"/>
              <a:gd name="connsiteY165" fmla="*/ 386302 h 386303"/>
              <a:gd name="connsiteX166" fmla="*/ 521383 w 1943587"/>
              <a:gd name="connsiteY166" fmla="*/ 386302 h 386303"/>
              <a:gd name="connsiteX167" fmla="*/ 326836 w 1943587"/>
              <a:gd name="connsiteY167" fmla="*/ 386301 h 386303"/>
              <a:gd name="connsiteX168" fmla="*/ 326834 w 1943587"/>
              <a:gd name="connsiteY168" fmla="*/ 386302 h 386303"/>
              <a:gd name="connsiteX169" fmla="*/ 189128 w 1943587"/>
              <a:gd name="connsiteY169" fmla="*/ 386301 h 386303"/>
              <a:gd name="connsiteX170" fmla="*/ 14861 w 1943587"/>
              <a:gd name="connsiteY170" fmla="*/ 268335 h 386303"/>
              <a:gd name="connsiteX171" fmla="*/ 0 w 1943587"/>
              <a:gd name="connsiteY171" fmla="*/ 193152 h 386303"/>
              <a:gd name="connsiteX172" fmla="*/ 14861 w 1943587"/>
              <a:gd name="connsiteY172" fmla="*/ 117970 h 386303"/>
              <a:gd name="connsiteX173" fmla="*/ 189128 w 1943587"/>
              <a:gd name="connsiteY173" fmla="*/ 0 h 386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</a:cxnLst>
            <a:rect l="l" t="t" r="r" b="b"/>
            <a:pathLst>
              <a:path w="1943587" h="386303">
                <a:moveTo>
                  <a:pt x="189128" y="0"/>
                </a:moveTo>
                <a:lnTo>
                  <a:pt x="286724" y="0"/>
                </a:lnTo>
                <a:lnTo>
                  <a:pt x="286761" y="0"/>
                </a:lnTo>
                <a:lnTo>
                  <a:pt x="326828" y="0"/>
                </a:lnTo>
                <a:lnTo>
                  <a:pt x="334029" y="0"/>
                </a:lnTo>
                <a:lnTo>
                  <a:pt x="374096" y="0"/>
                </a:lnTo>
                <a:lnTo>
                  <a:pt x="374134" y="0"/>
                </a:lnTo>
                <a:lnTo>
                  <a:pt x="391432" y="0"/>
                </a:lnTo>
                <a:lnTo>
                  <a:pt x="478324" y="0"/>
                </a:lnTo>
                <a:lnTo>
                  <a:pt x="489028" y="0"/>
                </a:lnTo>
                <a:lnTo>
                  <a:pt x="489065" y="0"/>
                </a:lnTo>
                <a:lnTo>
                  <a:pt x="520150" y="0"/>
                </a:lnTo>
                <a:lnTo>
                  <a:pt x="521938" y="0"/>
                </a:lnTo>
                <a:lnTo>
                  <a:pt x="525610" y="0"/>
                </a:lnTo>
                <a:lnTo>
                  <a:pt x="529132" y="0"/>
                </a:lnTo>
                <a:lnTo>
                  <a:pt x="536333" y="0"/>
                </a:lnTo>
                <a:lnTo>
                  <a:pt x="551841" y="0"/>
                </a:lnTo>
                <a:lnTo>
                  <a:pt x="576400" y="0"/>
                </a:lnTo>
                <a:lnTo>
                  <a:pt x="576438" y="0"/>
                </a:lnTo>
                <a:lnTo>
                  <a:pt x="593668" y="0"/>
                </a:lnTo>
                <a:lnTo>
                  <a:pt x="619534" y="0"/>
                </a:lnTo>
                <a:lnTo>
                  <a:pt x="619571" y="0"/>
                </a:lnTo>
                <a:lnTo>
                  <a:pt x="623206" y="0"/>
                </a:lnTo>
                <a:lnTo>
                  <a:pt x="623243" y="0"/>
                </a:lnTo>
                <a:lnTo>
                  <a:pt x="659638" y="0"/>
                </a:lnTo>
                <a:lnTo>
                  <a:pt x="663310" y="0"/>
                </a:lnTo>
                <a:lnTo>
                  <a:pt x="666839" y="0"/>
                </a:lnTo>
                <a:lnTo>
                  <a:pt x="670511" y="0"/>
                </a:lnTo>
                <a:lnTo>
                  <a:pt x="680628" y="0"/>
                </a:lnTo>
                <a:lnTo>
                  <a:pt x="697858" y="0"/>
                </a:lnTo>
                <a:lnTo>
                  <a:pt x="697895" y="0"/>
                </a:lnTo>
                <a:lnTo>
                  <a:pt x="706906" y="0"/>
                </a:lnTo>
                <a:lnTo>
                  <a:pt x="706944" y="0"/>
                </a:lnTo>
                <a:lnTo>
                  <a:pt x="710578" y="0"/>
                </a:lnTo>
                <a:lnTo>
                  <a:pt x="710616" y="0"/>
                </a:lnTo>
                <a:lnTo>
                  <a:pt x="722454" y="0"/>
                </a:lnTo>
                <a:lnTo>
                  <a:pt x="724242" y="0"/>
                </a:lnTo>
                <a:lnTo>
                  <a:pt x="727914" y="0"/>
                </a:lnTo>
                <a:lnTo>
                  <a:pt x="737962" y="0"/>
                </a:lnTo>
                <a:lnTo>
                  <a:pt x="745163" y="0"/>
                </a:lnTo>
                <a:lnTo>
                  <a:pt x="754145" y="0"/>
                </a:lnTo>
                <a:lnTo>
                  <a:pt x="785230" y="0"/>
                </a:lnTo>
                <a:lnTo>
                  <a:pt x="785268" y="0"/>
                </a:lnTo>
                <a:lnTo>
                  <a:pt x="795972" y="0"/>
                </a:lnTo>
                <a:lnTo>
                  <a:pt x="811134" y="0"/>
                </a:lnTo>
                <a:lnTo>
                  <a:pt x="814806" y="0"/>
                </a:lnTo>
                <a:lnTo>
                  <a:pt x="821838" y="0"/>
                </a:lnTo>
                <a:lnTo>
                  <a:pt x="821875" y="0"/>
                </a:lnTo>
                <a:lnTo>
                  <a:pt x="825510" y="0"/>
                </a:lnTo>
                <a:lnTo>
                  <a:pt x="825547" y="0"/>
                </a:lnTo>
                <a:lnTo>
                  <a:pt x="852960" y="0"/>
                </a:lnTo>
                <a:lnTo>
                  <a:pt x="856632" y="0"/>
                </a:lnTo>
                <a:lnTo>
                  <a:pt x="858420" y="0"/>
                </a:lnTo>
                <a:lnTo>
                  <a:pt x="861942" y="0"/>
                </a:lnTo>
                <a:lnTo>
                  <a:pt x="865614" y="0"/>
                </a:lnTo>
                <a:lnTo>
                  <a:pt x="869143" y="0"/>
                </a:lnTo>
                <a:lnTo>
                  <a:pt x="872815" y="0"/>
                </a:lnTo>
                <a:lnTo>
                  <a:pt x="882863" y="0"/>
                </a:lnTo>
                <a:lnTo>
                  <a:pt x="884651" y="0"/>
                </a:lnTo>
                <a:lnTo>
                  <a:pt x="888323" y="0"/>
                </a:lnTo>
                <a:lnTo>
                  <a:pt x="900162" y="0"/>
                </a:lnTo>
                <a:lnTo>
                  <a:pt x="900199" y="0"/>
                </a:lnTo>
                <a:lnTo>
                  <a:pt x="909210" y="0"/>
                </a:lnTo>
                <a:lnTo>
                  <a:pt x="909248" y="0"/>
                </a:lnTo>
                <a:lnTo>
                  <a:pt x="912882" y="0"/>
                </a:lnTo>
                <a:lnTo>
                  <a:pt x="912920" y="0"/>
                </a:lnTo>
                <a:lnTo>
                  <a:pt x="926478" y="0"/>
                </a:lnTo>
                <a:lnTo>
                  <a:pt x="930150" y="0"/>
                </a:lnTo>
                <a:lnTo>
                  <a:pt x="940266" y="0"/>
                </a:lnTo>
                <a:lnTo>
                  <a:pt x="947467" y="0"/>
                </a:lnTo>
                <a:lnTo>
                  <a:pt x="956016" y="0"/>
                </a:lnTo>
                <a:lnTo>
                  <a:pt x="956053" y="0"/>
                </a:lnTo>
                <a:lnTo>
                  <a:pt x="987534" y="0"/>
                </a:lnTo>
                <a:lnTo>
                  <a:pt x="987572" y="0"/>
                </a:lnTo>
                <a:lnTo>
                  <a:pt x="996120" y="0"/>
                </a:lnTo>
                <a:lnTo>
                  <a:pt x="1003321" y="0"/>
                </a:lnTo>
                <a:lnTo>
                  <a:pt x="1013438" y="0"/>
                </a:lnTo>
                <a:lnTo>
                  <a:pt x="1017110" y="0"/>
                </a:lnTo>
                <a:lnTo>
                  <a:pt x="1030668" y="0"/>
                </a:lnTo>
                <a:lnTo>
                  <a:pt x="1030705" y="0"/>
                </a:lnTo>
                <a:lnTo>
                  <a:pt x="1034340" y="0"/>
                </a:lnTo>
                <a:lnTo>
                  <a:pt x="1034377" y="0"/>
                </a:lnTo>
                <a:lnTo>
                  <a:pt x="1043388" y="0"/>
                </a:lnTo>
                <a:lnTo>
                  <a:pt x="1043426" y="0"/>
                </a:lnTo>
                <a:lnTo>
                  <a:pt x="1055264" y="0"/>
                </a:lnTo>
                <a:lnTo>
                  <a:pt x="1058936" y="0"/>
                </a:lnTo>
                <a:lnTo>
                  <a:pt x="1060724" y="0"/>
                </a:lnTo>
                <a:lnTo>
                  <a:pt x="1070772" y="0"/>
                </a:lnTo>
                <a:lnTo>
                  <a:pt x="1074444" y="0"/>
                </a:lnTo>
                <a:lnTo>
                  <a:pt x="1077973" y="0"/>
                </a:lnTo>
                <a:lnTo>
                  <a:pt x="1081645" y="0"/>
                </a:lnTo>
                <a:lnTo>
                  <a:pt x="1085167" y="0"/>
                </a:lnTo>
                <a:lnTo>
                  <a:pt x="1086955" y="0"/>
                </a:lnTo>
                <a:lnTo>
                  <a:pt x="1090627" y="0"/>
                </a:lnTo>
                <a:lnTo>
                  <a:pt x="1118040" y="0"/>
                </a:lnTo>
                <a:lnTo>
                  <a:pt x="1118078" y="0"/>
                </a:lnTo>
                <a:lnTo>
                  <a:pt x="1121712" y="0"/>
                </a:lnTo>
                <a:lnTo>
                  <a:pt x="1121750" y="0"/>
                </a:lnTo>
                <a:lnTo>
                  <a:pt x="1128782" y="0"/>
                </a:lnTo>
                <a:lnTo>
                  <a:pt x="1132454" y="0"/>
                </a:lnTo>
                <a:lnTo>
                  <a:pt x="1147616" y="0"/>
                </a:lnTo>
                <a:lnTo>
                  <a:pt x="1158320" y="0"/>
                </a:lnTo>
                <a:lnTo>
                  <a:pt x="1158357" y="0"/>
                </a:lnTo>
                <a:lnTo>
                  <a:pt x="1189442" y="0"/>
                </a:lnTo>
                <a:lnTo>
                  <a:pt x="1198424" y="0"/>
                </a:lnTo>
                <a:lnTo>
                  <a:pt x="1205625" y="0"/>
                </a:lnTo>
                <a:lnTo>
                  <a:pt x="1215673" y="0"/>
                </a:lnTo>
                <a:lnTo>
                  <a:pt x="1219345" y="0"/>
                </a:lnTo>
                <a:lnTo>
                  <a:pt x="1221133" y="0"/>
                </a:lnTo>
                <a:lnTo>
                  <a:pt x="1232972" y="0"/>
                </a:lnTo>
                <a:lnTo>
                  <a:pt x="1233009" y="0"/>
                </a:lnTo>
                <a:lnTo>
                  <a:pt x="1236644" y="0"/>
                </a:lnTo>
                <a:lnTo>
                  <a:pt x="1236681" y="0"/>
                </a:lnTo>
                <a:lnTo>
                  <a:pt x="1245692" y="0"/>
                </a:lnTo>
                <a:lnTo>
                  <a:pt x="1245730" y="0"/>
                </a:lnTo>
                <a:lnTo>
                  <a:pt x="1262960" y="0"/>
                </a:lnTo>
                <a:lnTo>
                  <a:pt x="1273076" y="0"/>
                </a:lnTo>
                <a:lnTo>
                  <a:pt x="1276748" y="0"/>
                </a:lnTo>
                <a:lnTo>
                  <a:pt x="1280277" y="0"/>
                </a:lnTo>
                <a:lnTo>
                  <a:pt x="1283949" y="0"/>
                </a:lnTo>
                <a:lnTo>
                  <a:pt x="1320344" y="0"/>
                </a:lnTo>
                <a:lnTo>
                  <a:pt x="1320382" y="0"/>
                </a:lnTo>
                <a:lnTo>
                  <a:pt x="1324016" y="0"/>
                </a:lnTo>
                <a:lnTo>
                  <a:pt x="1324054" y="0"/>
                </a:lnTo>
                <a:lnTo>
                  <a:pt x="1349920" y="0"/>
                </a:lnTo>
                <a:lnTo>
                  <a:pt x="1367150" y="0"/>
                </a:lnTo>
                <a:lnTo>
                  <a:pt x="1367187" y="0"/>
                </a:lnTo>
                <a:lnTo>
                  <a:pt x="1391746" y="0"/>
                </a:lnTo>
                <a:lnTo>
                  <a:pt x="1407254" y="0"/>
                </a:lnTo>
                <a:lnTo>
                  <a:pt x="1414455" y="0"/>
                </a:lnTo>
                <a:lnTo>
                  <a:pt x="1417977" y="0"/>
                </a:lnTo>
                <a:lnTo>
                  <a:pt x="1421649" y="0"/>
                </a:lnTo>
                <a:lnTo>
                  <a:pt x="1423437" y="0"/>
                </a:lnTo>
                <a:lnTo>
                  <a:pt x="1454522" y="0"/>
                </a:lnTo>
                <a:lnTo>
                  <a:pt x="1454560" y="0"/>
                </a:lnTo>
                <a:lnTo>
                  <a:pt x="1465264" y="0"/>
                </a:lnTo>
                <a:lnTo>
                  <a:pt x="1552155" y="0"/>
                </a:lnTo>
                <a:lnTo>
                  <a:pt x="1569454" y="0"/>
                </a:lnTo>
                <a:lnTo>
                  <a:pt x="1569491" y="0"/>
                </a:lnTo>
                <a:lnTo>
                  <a:pt x="1609558" y="0"/>
                </a:lnTo>
                <a:lnTo>
                  <a:pt x="1616759" y="0"/>
                </a:lnTo>
                <a:lnTo>
                  <a:pt x="1656826" y="0"/>
                </a:lnTo>
                <a:lnTo>
                  <a:pt x="1656864" y="0"/>
                </a:lnTo>
                <a:lnTo>
                  <a:pt x="1754459" y="0"/>
                </a:lnTo>
                <a:cubicBezTo>
                  <a:pt x="1858912" y="0"/>
                  <a:pt x="1943587" y="86477"/>
                  <a:pt x="1943587" y="193152"/>
                </a:cubicBezTo>
                <a:lnTo>
                  <a:pt x="1943585" y="193152"/>
                </a:lnTo>
                <a:cubicBezTo>
                  <a:pt x="1943585" y="286493"/>
                  <a:pt x="1878756" y="364369"/>
                  <a:pt x="1792574" y="382379"/>
                </a:cubicBezTo>
                <a:lnTo>
                  <a:pt x="1754472" y="386302"/>
                </a:lnTo>
                <a:lnTo>
                  <a:pt x="1609566" y="386301"/>
                </a:lnTo>
                <a:lnTo>
                  <a:pt x="1609561" y="386303"/>
                </a:lnTo>
                <a:lnTo>
                  <a:pt x="1407259" y="386303"/>
                </a:lnTo>
                <a:lnTo>
                  <a:pt x="1407257" y="386303"/>
                </a:lnTo>
                <a:lnTo>
                  <a:pt x="1276752" y="386303"/>
                </a:lnTo>
                <a:lnTo>
                  <a:pt x="1276751" y="386303"/>
                </a:lnTo>
                <a:lnTo>
                  <a:pt x="1273079" y="386303"/>
                </a:lnTo>
                <a:lnTo>
                  <a:pt x="1267356" y="386303"/>
                </a:lnTo>
                <a:lnTo>
                  <a:pt x="1074448" y="386303"/>
                </a:lnTo>
                <a:lnTo>
                  <a:pt x="1074447" y="386303"/>
                </a:lnTo>
                <a:lnTo>
                  <a:pt x="1070775" y="386303"/>
                </a:lnTo>
                <a:lnTo>
                  <a:pt x="1065052" y="386303"/>
                </a:lnTo>
                <a:lnTo>
                  <a:pt x="940271" y="386303"/>
                </a:lnTo>
                <a:lnTo>
                  <a:pt x="940269" y="386303"/>
                </a:lnTo>
                <a:lnTo>
                  <a:pt x="737969" y="386302"/>
                </a:lnTo>
                <a:lnTo>
                  <a:pt x="737965" y="386303"/>
                </a:lnTo>
                <a:lnTo>
                  <a:pt x="529138" y="386302"/>
                </a:lnTo>
                <a:lnTo>
                  <a:pt x="529138" y="386302"/>
                </a:lnTo>
                <a:lnTo>
                  <a:pt x="521383" y="386302"/>
                </a:lnTo>
                <a:lnTo>
                  <a:pt x="326836" y="386301"/>
                </a:lnTo>
                <a:lnTo>
                  <a:pt x="326834" y="386302"/>
                </a:lnTo>
                <a:lnTo>
                  <a:pt x="189128" y="386301"/>
                </a:lnTo>
                <a:cubicBezTo>
                  <a:pt x="110788" y="386301"/>
                  <a:pt x="43573" y="337659"/>
                  <a:pt x="14861" y="268335"/>
                </a:cubicBezTo>
                <a:lnTo>
                  <a:pt x="0" y="193152"/>
                </a:lnTo>
                <a:lnTo>
                  <a:pt x="14861" y="117970"/>
                </a:lnTo>
                <a:cubicBezTo>
                  <a:pt x="43573" y="48644"/>
                  <a:pt x="110788" y="0"/>
                  <a:pt x="189128" y="0"/>
                </a:cubicBez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wrap="square" lIns="0" tIns="0" rIns="18000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tx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скоро на МСП.РФ</a:t>
            </a:r>
            <a:endParaRPr lang="ru-RU" altLang="ru-RU" sz="1200" spc="-12" dirty="0">
              <a:solidFill>
                <a:schemeClr val="tx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2001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Прямоугольник 19"/>
          <p:cNvSpPr/>
          <p:nvPr/>
        </p:nvSpPr>
        <p:spPr>
          <a:xfrm>
            <a:off x="-25133" y="0"/>
            <a:ext cx="57984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426739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760068" y="3405766"/>
            <a:ext cx="453773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9875" marR="2786" lvl="0" indent="-269875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ручительство по кредиту предоставляется в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банке</a:t>
            </a:r>
            <a:endParaRPr kumimoji="0" lang="ru-RU" sz="1600" b="0" i="0" u="none" strike="noStrike" kern="1200" cap="none" spc="7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00092" y="835199"/>
            <a:ext cx="5952496" cy="16619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«Зонтичный» </a:t>
            </a:r>
          </a:p>
          <a:p>
            <a:pPr marR="2786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механизм </a:t>
            </a:r>
          </a:p>
          <a:p>
            <a:pPr marR="2786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ручительств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742058" y="4090380"/>
            <a:ext cx="455574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9875" marR="2786" lvl="0" indent="-269875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lang="ru-RU" sz="1600" spc="7" noProof="0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Б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есплатно</a:t>
            </a:r>
            <a:r>
              <a:rPr kumimoji="0" lang="ru-RU" sz="1600" b="0" i="0" u="none" strike="noStrike" kern="1200" cap="none" spc="7" normalizeH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- к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миссию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за поручительство платит банк,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а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не предприниматель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742025" y="4776728"/>
            <a:ext cx="4698658" cy="8797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9875" marR="2786" lvl="0" indent="-269875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умма поручительства - до 1 млрд руб.</a:t>
            </a:r>
          </a:p>
          <a:p>
            <a:pPr marL="269875" marR="2786" lvl="0" indent="-269875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tabLst/>
              <a:defRPr/>
            </a:pPr>
            <a:r>
              <a:rPr lang="ru-RU" sz="16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Г</a:t>
            </a: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арантийное </a:t>
            </a:r>
            <a:r>
              <a:rPr lang="ru-RU" sz="16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</a:t>
            </a:r>
            <a:r>
              <a:rPr kumimoji="0" lang="ru-RU" sz="1600" b="0" i="0" u="none" strike="noStrike" kern="1200" cap="none" spc="7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крытие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– </a:t>
            </a: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о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50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 Semibold" panose="020B0702040204020203" pitchFamily="34" charset="0"/>
                <a:cs typeface="Segoe UI Semibold" panose="020B0702040204020203" pitchFamily="34" charset="0"/>
              </a:rPr>
              <a:t>%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от суммы кредита 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1330865" y="306998"/>
            <a:ext cx="595388" cy="307659"/>
          </a:xfrm>
          <a:prstGeom prst="rect">
            <a:avLst/>
          </a:prstGeom>
        </p:spPr>
      </p:pic>
      <p:sp>
        <p:nvSpPr>
          <p:cNvPr id="13" name="Номер слайда 1"/>
          <p:cNvSpPr txBox="1">
            <a:spLocks/>
          </p:cNvSpPr>
          <p:nvPr/>
        </p:nvSpPr>
        <p:spPr>
          <a:xfrm>
            <a:off x="11140884" y="6446613"/>
            <a:ext cx="48767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760068" y="2716757"/>
            <a:ext cx="4537738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9875" marR="2786" lvl="0" indent="-269875" defTabSz="457200"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  <a:defRPr/>
            </a:pPr>
            <a:r>
              <a:rPr lang="ru-RU" sz="16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прощенный способ получить кредит, </a:t>
            </a:r>
            <a:r>
              <a:rPr lang="en-US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en-US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если </a:t>
            </a:r>
            <a:r>
              <a:rPr lang="ru-RU" sz="16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у вас не хватает </a:t>
            </a: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лога</a:t>
            </a:r>
            <a:endParaRPr lang="ru-RU" sz="1600" spc="7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C2AF978C-F368-C14F-AD1E-466D4FF011CB}"/>
              </a:ext>
            </a:extLst>
          </p:cNvPr>
          <p:cNvSpPr/>
          <p:nvPr/>
        </p:nvSpPr>
        <p:spPr>
          <a:xfrm>
            <a:off x="6240221" y="824575"/>
            <a:ext cx="980338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>
              <a:spcBef>
                <a:spcPts val="226"/>
              </a:spcBef>
              <a:spcAft>
                <a:spcPts val="412"/>
              </a:spcAft>
            </a:pPr>
            <a:r>
              <a:rPr lang="ru-RU" sz="4500" kern="0" spc="-3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2</a:t>
            </a:r>
            <a:endParaRPr lang="ru-RU" sz="4500" kern="0" spc="-3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6940276" y="1025387"/>
            <a:ext cx="292394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spc="7" dirty="0">
                <a:latin typeface="Segoe UI" panose="020B0502040204020203" pitchFamily="34" charset="0"/>
                <a:cs typeface="Segoe UI" panose="020B0502040204020203" pitchFamily="34" charset="0"/>
              </a:rPr>
              <a:t>банков-участников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745220" y="327804"/>
            <a:ext cx="4301233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Финансовые меры поддержки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6282733" y="6245890"/>
            <a:ext cx="1976054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1746" lvl="0" indent="0" algn="l" defTabSz="914400" rtl="0" eaLnBrk="1" fontAlgn="auto" latinLnBrk="0" hangingPunct="1">
              <a:lnSpc>
                <a:spcPct val="100000"/>
              </a:lnSpc>
              <a:spcBef>
                <a:spcPts val="226"/>
              </a:spcBef>
              <a:spcAft>
                <a:spcPts val="41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3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о состоянию на </a:t>
            </a:r>
            <a:r>
              <a:rPr lang="ru-RU" sz="1200" spc="3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2</a:t>
            </a:r>
            <a:r>
              <a:rPr kumimoji="0" lang="ru-RU" sz="12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0</a:t>
            </a:r>
            <a:r>
              <a:rPr kumimoji="0" lang="en-US" sz="12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8</a:t>
            </a:r>
            <a:r>
              <a:rPr kumimoji="0" lang="ru-RU" sz="12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.2022</a:t>
            </a:r>
            <a:endParaRPr kumimoji="0" lang="ru-RU" sz="1200" b="0" i="0" u="none" strike="noStrike" kern="1200" cap="none" spc="3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58" name="Прямоугольник 57">
            <a:extLst>
              <a:ext uri="{FF2B5EF4-FFF2-40B4-BE49-F238E27FC236}">
                <a16:creationId xmlns:a16="http://schemas.microsoft.com/office/drawing/2014/main" id="{4F93827C-2093-8D42-809E-5869A0388E9F}"/>
              </a:ext>
            </a:extLst>
          </p:cNvPr>
          <p:cNvSpPr/>
          <p:nvPr/>
        </p:nvSpPr>
        <p:spPr>
          <a:xfrm>
            <a:off x="6282733" y="3582585"/>
            <a:ext cx="5213942" cy="24622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1746"/>
            <a:r>
              <a:rPr lang="ru-RU" sz="1600" kern="0" spc="-3" dirty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д</a:t>
            </a:r>
            <a:r>
              <a:rPr lang="ru-RU" sz="1600" kern="0" spc="-3" dirty="0" smtClean="0">
                <a:latin typeface="Segoe UI" panose="020B0502040204020203" pitchFamily="34" charset="0"/>
                <a:ea typeface="+mj-ea"/>
                <a:cs typeface="Segoe UI" panose="020B0502040204020203" pitchFamily="34" charset="0"/>
              </a:rPr>
              <a:t>оступно предпринимателям со всех регионов</a:t>
            </a:r>
            <a:endParaRPr lang="ru-RU" sz="1600" kern="0" spc="-3" dirty="0">
              <a:latin typeface="Segoe UI Semibold" panose="020B0702040204020203" pitchFamily="34" charset="0"/>
              <a:ea typeface="+mj-ea"/>
              <a:cs typeface="Segoe UI Semibold" panose="020B0702040204020203" pitchFamily="34" charset="0"/>
            </a:endParaRP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282733" y="4243932"/>
            <a:ext cx="4060626" cy="49244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2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175 млрд</a:t>
            </a:r>
            <a:r>
              <a:rPr lang="en-US" sz="32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32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ублей</a:t>
            </a:r>
            <a:endParaRPr lang="ru-RU" sz="32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6282734" y="4784179"/>
            <a:ext cx="5222754" cy="48218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2786">
              <a:spcAft>
                <a:spcPts val="400"/>
              </a:spcAft>
            </a:pP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объем </a:t>
            </a: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кредитов с применением </a:t>
            </a: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«зонтичного» механизма </a:t>
            </a:r>
            <a:endParaRPr lang="ru-RU" sz="1400" spc="7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R="2786">
              <a:spcAft>
                <a:spcPts val="400"/>
              </a:spcAft>
            </a:pPr>
            <a:r>
              <a:rPr lang="ru-RU" sz="1400" spc="7" dirty="0">
                <a:latin typeface="Segoe UI" panose="020B0502040204020203" pitchFamily="34" charset="0"/>
                <a:cs typeface="Segoe UI" panose="020B0502040204020203" pitchFamily="34" charset="0"/>
              </a:rPr>
              <a:t>и</a:t>
            </a: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з </a:t>
            </a:r>
            <a:r>
              <a:rPr lang="ru-RU" sz="1400" spc="7" dirty="0" smtClean="0">
                <a:latin typeface="Segoe UI" panose="020B0502040204020203" pitchFamily="34" charset="0"/>
                <a:cs typeface="Segoe UI" panose="020B0502040204020203" pitchFamily="34" charset="0"/>
              </a:rPr>
              <a:t>них в Кировской области</a:t>
            </a:r>
            <a:endParaRPr lang="ru-RU" sz="1400" i="1" u="sng" spc="7" dirty="0" smtClean="0">
              <a:solidFill>
                <a:srgbClr val="FFC0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208302" y="5829810"/>
            <a:ext cx="25822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latin typeface="Segoe UI" panose="020B0502040204020203" pitchFamily="34" charset="0"/>
                <a:cs typeface="Segoe UI" panose="020B0502040204020203" pitchFamily="34" charset="0"/>
              </a:rPr>
              <a:t>(сентябрь 2021 г. – </a:t>
            </a:r>
            <a:r>
              <a:rPr lang="ru-RU" sz="1200" dirty="0" smtClean="0">
                <a:latin typeface="Segoe UI" panose="020B0502040204020203" pitchFamily="34" charset="0"/>
                <a:cs typeface="Segoe UI" panose="020B0502040204020203" pitchFamily="34" charset="0"/>
              </a:rPr>
              <a:t>август </a:t>
            </a:r>
            <a:r>
              <a:rPr lang="ru-RU" sz="1200" dirty="0">
                <a:latin typeface="Segoe UI" panose="020B0502040204020203" pitchFamily="34" charset="0"/>
                <a:cs typeface="Segoe UI" panose="020B0502040204020203" pitchFamily="34" charset="0"/>
              </a:rPr>
              <a:t>2022 г.)</a:t>
            </a:r>
          </a:p>
        </p:txBody>
      </p:sp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295787" y="5471374"/>
            <a:ext cx="3343472" cy="369332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24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0,892 млрд</a:t>
            </a:r>
            <a:r>
              <a:rPr lang="en-US" sz="24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24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рублей</a:t>
            </a:r>
            <a:endParaRPr lang="ru-RU" sz="24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0900742" y="306999"/>
            <a:ext cx="604745" cy="322513"/>
          </a:xfrm>
          <a:prstGeom prst="rect">
            <a:avLst/>
          </a:prstGeom>
        </p:spPr>
      </p:pic>
      <p:grpSp>
        <p:nvGrpSpPr>
          <p:cNvPr id="6" name="Группа 5"/>
          <p:cNvGrpSpPr/>
          <p:nvPr/>
        </p:nvGrpSpPr>
        <p:grpSpPr>
          <a:xfrm>
            <a:off x="6240221" y="1682172"/>
            <a:ext cx="5015838" cy="1714639"/>
            <a:chOff x="6228775" y="1751903"/>
            <a:chExt cx="5507223" cy="1882617"/>
          </a:xfrm>
        </p:grpSpPr>
        <p:pic>
          <p:nvPicPr>
            <p:cNvPr id="28" name="Picture 4" descr="СОВКОМБАНК в Санкт-Петербурге - кредитные карты, отзывы, реквизиты,  конакты, банкоматы и отделения - Banklab.ru">
              <a:extLst>
                <a:ext uri="{FF2B5EF4-FFF2-40B4-BE49-F238E27FC236}">
                  <a16:creationId xmlns:a16="http://schemas.microsoft.com/office/drawing/2014/main" id="{139D6BE1-CE67-0B41-911F-6E710F7508A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7692" b="35183"/>
            <a:stretch/>
          </p:blipFill>
          <p:spPr bwMode="auto">
            <a:xfrm>
              <a:off x="8341757" y="3296586"/>
              <a:ext cx="1121679" cy="1940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0" name="Picture 6" descr="Ак Барс (банк) — Википедия">
              <a:extLst>
                <a:ext uri="{FF2B5EF4-FFF2-40B4-BE49-F238E27FC236}">
                  <a16:creationId xmlns:a16="http://schemas.microsoft.com/office/drawing/2014/main" id="{A9B557FF-DDE7-2B4E-AD4F-F575CF5FCBE5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447090" y="3208672"/>
              <a:ext cx="494602" cy="33877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1" name="Picture 6" descr="Файл:Otkritie logo 2017.png — Википедия">
              <a:extLst>
                <a:ext uri="{FF2B5EF4-FFF2-40B4-BE49-F238E27FC236}">
                  <a16:creationId xmlns:a16="http://schemas.microsoft.com/office/drawing/2014/main" id="{CF0367E9-A663-ED43-81E6-1BAC88369C93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34086" b="11992"/>
            <a:stretch/>
          </p:blipFill>
          <p:spPr bwMode="auto">
            <a:xfrm>
              <a:off x="6241829" y="1846950"/>
              <a:ext cx="1035676" cy="30012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3" name="Picture 2" descr="Российский национальный коммерческий банк — Википедия">
              <a:extLst>
                <a:ext uri="{FF2B5EF4-FFF2-40B4-BE49-F238E27FC236}">
                  <a16:creationId xmlns:a16="http://schemas.microsoft.com/office/drawing/2014/main" id="{3B504ECB-8262-A146-9295-50B6CD04A2F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908538" y="3198987"/>
              <a:ext cx="525531" cy="32763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4" descr="Файл:VTB Logo 2018.svg — Википедия">
              <a:extLst>
                <a:ext uri="{FF2B5EF4-FFF2-40B4-BE49-F238E27FC236}">
                  <a16:creationId xmlns:a16="http://schemas.microsoft.com/office/drawing/2014/main" id="{489356B7-0643-DB41-92CA-85E09EEB50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21892" y="1875577"/>
              <a:ext cx="621284" cy="22278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2" descr="новый логотип сбербанка 2020 на прозрачном фоне (пнг)– новый логотип  сбербанка 2020 png">
              <a:extLst>
                <a:ext uri="{FF2B5EF4-FFF2-40B4-BE49-F238E27FC236}">
                  <a16:creationId xmlns:a16="http://schemas.microsoft.com/office/drawing/2014/main" id="{2D08F332-50E1-7D4A-8629-94C31F40615D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549303" y="1903490"/>
              <a:ext cx="738912" cy="20649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10" descr="Логотип Промсвязьбанк (ПСБ) / Банки и финансы / TopLogos.ru">
              <a:extLst>
                <a:ext uri="{FF2B5EF4-FFF2-40B4-BE49-F238E27FC236}">
                  <a16:creationId xmlns:a16="http://schemas.microsoft.com/office/drawing/2014/main" id="{E0639608-D003-294F-BF1C-6FBA5C50CDC6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69476" y="2399342"/>
              <a:ext cx="778305" cy="55256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8" name="Picture 2" descr="Зенит (банк) — Википедия">
              <a:extLst>
                <a:ext uri="{FF2B5EF4-FFF2-40B4-BE49-F238E27FC236}">
                  <a16:creationId xmlns:a16="http://schemas.microsoft.com/office/drawing/2014/main" id="{894EF2DE-8B6A-384E-A725-E7C8FF2143A3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426249" y="3198806"/>
              <a:ext cx="580598" cy="3237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Скругленный прямоугольник 38"/>
            <p:cNvSpPr/>
            <p:nvPr/>
          </p:nvSpPr>
          <p:spPr>
            <a:xfrm>
              <a:off x="6228775" y="1751903"/>
              <a:ext cx="1132153" cy="513227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0" name="Скругленный прямоугольник 39"/>
            <p:cNvSpPr/>
            <p:nvPr/>
          </p:nvSpPr>
          <p:spPr>
            <a:xfrm>
              <a:off x="7439956" y="1751903"/>
              <a:ext cx="991008" cy="513229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1" name="Скругленный прямоугольник 40"/>
            <p:cNvSpPr/>
            <p:nvPr/>
          </p:nvSpPr>
          <p:spPr>
            <a:xfrm>
              <a:off x="8535159" y="1751903"/>
              <a:ext cx="908755" cy="513227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Полилиния 54"/>
            <p:cNvSpPr/>
            <p:nvPr/>
          </p:nvSpPr>
          <p:spPr>
            <a:xfrm>
              <a:off x="6241342" y="2441806"/>
              <a:ext cx="1076399" cy="495421"/>
            </a:xfrm>
            <a:custGeom>
              <a:avLst/>
              <a:gdLst>
                <a:gd name="connsiteX0" fmla="*/ 0 w 1076399"/>
                <a:gd name="connsiteY0" fmla="*/ 263994 h 527990"/>
                <a:gd name="connsiteX1" fmla="*/ 0 w 1076399"/>
                <a:gd name="connsiteY1" fmla="*/ 263995 h 527990"/>
                <a:gd name="connsiteX2" fmla="*/ 0 w 1076399"/>
                <a:gd name="connsiteY2" fmla="*/ 263995 h 527990"/>
                <a:gd name="connsiteX3" fmla="*/ 263995 w 1076399"/>
                <a:gd name="connsiteY3" fmla="*/ 0 h 527990"/>
                <a:gd name="connsiteX4" fmla="*/ 812404 w 1076399"/>
                <a:gd name="connsiteY4" fmla="*/ 0 h 527990"/>
                <a:gd name="connsiteX5" fmla="*/ 1076399 w 1076399"/>
                <a:gd name="connsiteY5" fmla="*/ 263995 h 527990"/>
                <a:gd name="connsiteX6" fmla="*/ 1076398 w 1076399"/>
                <a:gd name="connsiteY6" fmla="*/ 263995 h 527990"/>
                <a:gd name="connsiteX7" fmla="*/ 865607 w 1076399"/>
                <a:gd name="connsiteY7" fmla="*/ 522627 h 527990"/>
                <a:gd name="connsiteX8" fmla="*/ 812405 w 1076399"/>
                <a:gd name="connsiteY8" fmla="*/ 527990 h 527990"/>
                <a:gd name="connsiteX9" fmla="*/ 263995 w 1076399"/>
                <a:gd name="connsiteY9" fmla="*/ 527989 h 527990"/>
                <a:gd name="connsiteX10" fmla="*/ 20746 w 1076399"/>
                <a:gd name="connsiteY10" fmla="*/ 366753 h 527990"/>
                <a:gd name="connsiteX11" fmla="*/ 0 w 1076399"/>
                <a:gd name="connsiteY11" fmla="*/ 263995 h 527990"/>
                <a:gd name="connsiteX12" fmla="*/ 20746 w 1076399"/>
                <a:gd name="connsiteY12" fmla="*/ 161237 h 527990"/>
                <a:gd name="connsiteX13" fmla="*/ 263995 w 1076399"/>
                <a:gd name="connsiteY13" fmla="*/ 0 h 52799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076399" h="527990">
                  <a:moveTo>
                    <a:pt x="0" y="263994"/>
                  </a:moveTo>
                  <a:lnTo>
                    <a:pt x="0" y="263995"/>
                  </a:lnTo>
                  <a:lnTo>
                    <a:pt x="0" y="263995"/>
                  </a:lnTo>
                  <a:close/>
                  <a:moveTo>
                    <a:pt x="263995" y="0"/>
                  </a:moveTo>
                  <a:lnTo>
                    <a:pt x="812404" y="0"/>
                  </a:lnTo>
                  <a:cubicBezTo>
                    <a:pt x="958204" y="0"/>
                    <a:pt x="1076399" y="118195"/>
                    <a:pt x="1076399" y="263995"/>
                  </a:cubicBezTo>
                  <a:lnTo>
                    <a:pt x="1076398" y="263995"/>
                  </a:lnTo>
                  <a:cubicBezTo>
                    <a:pt x="1076398" y="391570"/>
                    <a:pt x="985905" y="498010"/>
                    <a:pt x="865607" y="522627"/>
                  </a:cubicBezTo>
                  <a:lnTo>
                    <a:pt x="812405" y="527990"/>
                  </a:lnTo>
                  <a:lnTo>
                    <a:pt x="263995" y="527989"/>
                  </a:lnTo>
                  <a:cubicBezTo>
                    <a:pt x="154645" y="527989"/>
                    <a:pt x="60823" y="461504"/>
                    <a:pt x="20746" y="366753"/>
                  </a:cubicBezTo>
                  <a:lnTo>
                    <a:pt x="0" y="263995"/>
                  </a:lnTo>
                  <a:lnTo>
                    <a:pt x="20746" y="161237"/>
                  </a:lnTo>
                  <a:cubicBezTo>
                    <a:pt x="60823" y="66485"/>
                    <a:pt x="154645" y="0"/>
                    <a:pt x="263995" y="0"/>
                  </a:cubicBezTo>
                  <a:close/>
                </a:path>
              </a:pathLst>
            </a:cu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grpSp>
          <p:nvGrpSpPr>
            <p:cNvPr id="4" name="Группа 3"/>
            <p:cNvGrpSpPr/>
            <p:nvPr/>
          </p:nvGrpSpPr>
          <p:grpSpPr>
            <a:xfrm>
              <a:off x="8716909" y="2441806"/>
              <a:ext cx="1413816" cy="485799"/>
              <a:chOff x="8877354" y="2441806"/>
              <a:chExt cx="1413816" cy="485799"/>
            </a:xfrm>
          </p:grpSpPr>
          <p:pic>
            <p:nvPicPr>
              <p:cNvPr id="25" name="Picture 2" descr="https://xn--32-9kcqjffxnf3b.xn--p1ai/upload/iblock/033/033cfc91b35e479e09206109748af9db.png">
                <a:extLst>
                  <a:ext uri="{FF2B5EF4-FFF2-40B4-BE49-F238E27FC236}">
                    <a16:creationId xmlns:a16="http://schemas.microsoft.com/office/drawing/2014/main" id="{0EF31431-AA0B-9441-8672-A83A921BB50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036114" y="2602924"/>
                <a:ext cx="1062164" cy="223614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45" name="Скругленный прямоугольник 44"/>
              <p:cNvSpPr/>
              <p:nvPr/>
            </p:nvSpPr>
            <p:spPr>
              <a:xfrm>
                <a:off x="8877354" y="2441806"/>
                <a:ext cx="1413816" cy="485799"/>
              </a:xfrm>
              <a:prstGeom prst="roundRect">
                <a:avLst>
                  <a:gd name="adj" fmla="val 50000"/>
                </a:avLst>
              </a:prstGeom>
              <a:noFill/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</p:grpSp>
        <p:sp>
          <p:nvSpPr>
            <p:cNvPr id="46" name="Скругленный прямоугольник 45"/>
            <p:cNvSpPr/>
            <p:nvPr/>
          </p:nvSpPr>
          <p:spPr>
            <a:xfrm>
              <a:off x="8229842" y="3122680"/>
              <a:ext cx="1357303" cy="511839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7" name="Скругленный прямоугольник 46"/>
            <p:cNvSpPr/>
            <p:nvPr/>
          </p:nvSpPr>
          <p:spPr>
            <a:xfrm>
              <a:off x="6241342" y="3122680"/>
              <a:ext cx="932986" cy="511840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Скругленный прямоугольник 48"/>
            <p:cNvSpPr/>
            <p:nvPr/>
          </p:nvSpPr>
          <p:spPr>
            <a:xfrm>
              <a:off x="9535698" y="1751903"/>
              <a:ext cx="1443274" cy="513227"/>
            </a:xfrm>
            <a:prstGeom prst="roundRect">
              <a:avLst>
                <a:gd name="adj" fmla="val 50000"/>
              </a:avLst>
            </a:pr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0" name="Picture 2">
              <a:extLst>
                <a:ext uri="{FF2B5EF4-FFF2-40B4-BE49-F238E27FC236}">
                  <a16:creationId xmlns:a16="http://schemas.microsoft.com/office/drawing/2014/main" id="{0EF31431-AA0B-9441-8672-A83A921BB50C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auto">
            <a:xfrm>
              <a:off x="9686955" y="1857100"/>
              <a:ext cx="1140760" cy="29938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" name="Группа 4"/>
            <p:cNvGrpSpPr/>
            <p:nvPr/>
          </p:nvGrpSpPr>
          <p:grpSpPr>
            <a:xfrm>
              <a:off x="7399085" y="2441806"/>
              <a:ext cx="1267198" cy="492108"/>
              <a:chOff x="7497670" y="2441806"/>
              <a:chExt cx="1267198" cy="492108"/>
            </a:xfrm>
          </p:grpSpPr>
          <p:pic>
            <p:nvPicPr>
              <p:cNvPr id="37" name="Picture 2" descr="Файл:Альфа-банк Україна.png — Википедия">
                <a:extLst>
                  <a:ext uri="{FF2B5EF4-FFF2-40B4-BE49-F238E27FC236}">
                    <a16:creationId xmlns:a16="http://schemas.microsoft.com/office/drawing/2014/main" id="{F8DFF89C-5E3C-E448-8135-BDFFDDDB2C6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39063" y="2530346"/>
                <a:ext cx="864568" cy="30253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sp>
            <p:nvSpPr>
              <p:cNvPr id="57" name="Полилиния 56"/>
              <p:cNvSpPr/>
              <p:nvPr/>
            </p:nvSpPr>
            <p:spPr>
              <a:xfrm>
                <a:off x="7497670" y="2441806"/>
                <a:ext cx="1267198" cy="492108"/>
              </a:xfrm>
              <a:custGeom>
                <a:avLst/>
                <a:gdLst>
                  <a:gd name="connsiteX0" fmla="*/ 263995 w 1267198"/>
                  <a:gd name="connsiteY0" fmla="*/ 0 h 527990"/>
                  <a:gd name="connsiteX1" fmla="*/ 1003203 w 1267198"/>
                  <a:gd name="connsiteY1" fmla="*/ 0 h 527990"/>
                  <a:gd name="connsiteX2" fmla="*/ 1267198 w 1267198"/>
                  <a:gd name="connsiteY2" fmla="*/ 263995 h 527990"/>
                  <a:gd name="connsiteX3" fmla="*/ 1003203 w 1267198"/>
                  <a:gd name="connsiteY3" fmla="*/ 527990 h 527990"/>
                  <a:gd name="connsiteX4" fmla="*/ 263995 w 1267198"/>
                  <a:gd name="connsiteY4" fmla="*/ 527990 h 527990"/>
                  <a:gd name="connsiteX5" fmla="*/ 0 w 1267198"/>
                  <a:gd name="connsiteY5" fmla="*/ 263995 h 527990"/>
                  <a:gd name="connsiteX6" fmla="*/ 263995 w 1267198"/>
                  <a:gd name="connsiteY6" fmla="*/ 0 h 5279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</a:cxnLst>
                <a:rect l="l" t="t" r="r" b="b"/>
                <a:pathLst>
                  <a:path w="1267198" h="527990">
                    <a:moveTo>
                      <a:pt x="263995" y="0"/>
                    </a:moveTo>
                    <a:lnTo>
                      <a:pt x="1003203" y="0"/>
                    </a:lnTo>
                    <a:cubicBezTo>
                      <a:pt x="1149003" y="0"/>
                      <a:pt x="1267198" y="118195"/>
                      <a:pt x="1267198" y="263995"/>
                    </a:cubicBezTo>
                    <a:cubicBezTo>
                      <a:pt x="1267198" y="409795"/>
                      <a:pt x="1149003" y="527990"/>
                      <a:pt x="1003203" y="527990"/>
                    </a:cubicBezTo>
                    <a:lnTo>
                      <a:pt x="263995" y="527990"/>
                    </a:lnTo>
                    <a:cubicBezTo>
                      <a:pt x="118195" y="527990"/>
                      <a:pt x="0" y="409795"/>
                      <a:pt x="0" y="263995"/>
                    </a:cubicBezTo>
                    <a:cubicBezTo>
                      <a:pt x="0" y="118195"/>
                      <a:pt x="118195" y="0"/>
                      <a:pt x="263995" y="0"/>
                    </a:cubicBezTo>
                    <a:close/>
                  </a:path>
                </a:pathLst>
              </a:custGeom>
              <a:noFill/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ru-RU" dirty="0"/>
              </a:p>
            </p:txBody>
          </p:sp>
        </p:grpSp>
        <p:sp>
          <p:nvSpPr>
            <p:cNvPr id="65" name="Полилиния 64"/>
            <p:cNvSpPr/>
            <p:nvPr/>
          </p:nvSpPr>
          <p:spPr>
            <a:xfrm>
              <a:off x="7254066" y="3122679"/>
              <a:ext cx="916352" cy="511840"/>
            </a:xfrm>
            <a:custGeom>
              <a:avLst/>
              <a:gdLst>
                <a:gd name="connsiteX0" fmla="*/ 231426 w 858653"/>
                <a:gd name="connsiteY0" fmla="*/ 0 h 462852"/>
                <a:gd name="connsiteX1" fmla="*/ 627227 w 858653"/>
                <a:gd name="connsiteY1" fmla="*/ 0 h 462852"/>
                <a:gd name="connsiteX2" fmla="*/ 858653 w 858653"/>
                <a:gd name="connsiteY2" fmla="*/ 231426 h 462852"/>
                <a:gd name="connsiteX3" fmla="*/ 627227 w 858653"/>
                <a:gd name="connsiteY3" fmla="*/ 462852 h 462852"/>
                <a:gd name="connsiteX4" fmla="*/ 231426 w 858653"/>
                <a:gd name="connsiteY4" fmla="*/ 462852 h 462852"/>
                <a:gd name="connsiteX5" fmla="*/ 0 w 858653"/>
                <a:gd name="connsiteY5" fmla="*/ 231426 h 462852"/>
                <a:gd name="connsiteX6" fmla="*/ 231426 w 858653"/>
                <a:gd name="connsiteY6" fmla="*/ 0 h 462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858653" h="462852">
                  <a:moveTo>
                    <a:pt x="231426" y="0"/>
                  </a:moveTo>
                  <a:lnTo>
                    <a:pt x="627227" y="0"/>
                  </a:lnTo>
                  <a:cubicBezTo>
                    <a:pt x="755040" y="0"/>
                    <a:pt x="858653" y="103613"/>
                    <a:pt x="858653" y="231426"/>
                  </a:cubicBezTo>
                  <a:cubicBezTo>
                    <a:pt x="858653" y="359239"/>
                    <a:pt x="755040" y="462852"/>
                    <a:pt x="627227" y="462852"/>
                  </a:cubicBezTo>
                  <a:lnTo>
                    <a:pt x="231426" y="462852"/>
                  </a:lnTo>
                  <a:cubicBezTo>
                    <a:pt x="103613" y="462852"/>
                    <a:pt x="0" y="359239"/>
                    <a:pt x="0" y="231426"/>
                  </a:cubicBezTo>
                  <a:cubicBezTo>
                    <a:pt x="0" y="103613"/>
                    <a:pt x="103613" y="0"/>
                    <a:pt x="231426" y="0"/>
                  </a:cubicBezTo>
                  <a:close/>
                </a:path>
              </a:pathLst>
            </a:cu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sp>
          <p:nvSpPr>
            <p:cNvPr id="71" name="Полилиния 70"/>
            <p:cNvSpPr/>
            <p:nvPr/>
          </p:nvSpPr>
          <p:spPr>
            <a:xfrm>
              <a:off x="9649638" y="3122680"/>
              <a:ext cx="1028524" cy="511839"/>
            </a:xfrm>
            <a:custGeom>
              <a:avLst/>
              <a:gdLst>
                <a:gd name="connsiteX0" fmla="*/ 231426 w 930087"/>
                <a:gd name="connsiteY0" fmla="*/ 0 h 462852"/>
                <a:gd name="connsiteX1" fmla="*/ 698661 w 930087"/>
                <a:gd name="connsiteY1" fmla="*/ 0 h 462852"/>
                <a:gd name="connsiteX2" fmla="*/ 930087 w 930087"/>
                <a:gd name="connsiteY2" fmla="*/ 231426 h 462852"/>
                <a:gd name="connsiteX3" fmla="*/ 698661 w 930087"/>
                <a:gd name="connsiteY3" fmla="*/ 462852 h 462852"/>
                <a:gd name="connsiteX4" fmla="*/ 231426 w 930087"/>
                <a:gd name="connsiteY4" fmla="*/ 462852 h 462852"/>
                <a:gd name="connsiteX5" fmla="*/ 0 w 930087"/>
                <a:gd name="connsiteY5" fmla="*/ 231426 h 462852"/>
                <a:gd name="connsiteX6" fmla="*/ 231426 w 930087"/>
                <a:gd name="connsiteY6" fmla="*/ 0 h 46285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930087" h="462852">
                  <a:moveTo>
                    <a:pt x="231426" y="0"/>
                  </a:moveTo>
                  <a:lnTo>
                    <a:pt x="698661" y="0"/>
                  </a:lnTo>
                  <a:cubicBezTo>
                    <a:pt x="826474" y="0"/>
                    <a:pt x="930087" y="103613"/>
                    <a:pt x="930087" y="231426"/>
                  </a:cubicBezTo>
                  <a:cubicBezTo>
                    <a:pt x="930087" y="359239"/>
                    <a:pt x="826474" y="462852"/>
                    <a:pt x="698661" y="462852"/>
                  </a:cubicBezTo>
                  <a:lnTo>
                    <a:pt x="231426" y="462852"/>
                  </a:lnTo>
                  <a:cubicBezTo>
                    <a:pt x="103613" y="462852"/>
                    <a:pt x="0" y="359239"/>
                    <a:pt x="0" y="231426"/>
                  </a:cubicBezTo>
                  <a:cubicBezTo>
                    <a:pt x="0" y="103613"/>
                    <a:pt x="103613" y="0"/>
                    <a:pt x="231426" y="0"/>
                  </a:cubicBezTo>
                  <a:close/>
                </a:path>
              </a:pathLst>
            </a:custGeom>
            <a:noFill/>
            <a:ln>
              <a:solidFill>
                <a:srgbClr val="BFBFBF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ru-RU"/>
            </a:p>
          </p:txBody>
        </p:sp>
        <p:grpSp>
          <p:nvGrpSpPr>
            <p:cNvPr id="3" name="Группа 2"/>
            <p:cNvGrpSpPr/>
            <p:nvPr/>
          </p:nvGrpSpPr>
          <p:grpSpPr>
            <a:xfrm>
              <a:off x="10221946" y="2441805"/>
              <a:ext cx="1514052" cy="485798"/>
              <a:chOff x="10384060" y="2441805"/>
              <a:chExt cx="1514052" cy="485798"/>
            </a:xfrm>
          </p:grpSpPr>
          <p:pic>
            <p:nvPicPr>
              <p:cNvPr id="63" name="Рисунок 62"/>
              <p:cNvPicPr>
                <a:picLocks noChangeAspect="1"/>
              </p:cNvPicPr>
              <p:nvPr/>
            </p:nvPicPr>
            <p:blipFill>
              <a:blip r:embed="rId1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498204" y="2483109"/>
                <a:ext cx="1327662" cy="421480"/>
              </a:xfrm>
              <a:prstGeom prst="rect">
                <a:avLst/>
              </a:prstGeom>
            </p:spPr>
          </p:pic>
          <p:sp>
            <p:nvSpPr>
              <p:cNvPr id="77" name="Полилиния 76"/>
              <p:cNvSpPr/>
              <p:nvPr/>
            </p:nvSpPr>
            <p:spPr>
              <a:xfrm>
                <a:off x="10384060" y="2441805"/>
                <a:ext cx="1514052" cy="485798"/>
              </a:xfrm>
              <a:custGeom>
                <a:avLst/>
                <a:gdLst>
                  <a:gd name="connsiteX0" fmla="*/ 231426 w 1514052"/>
                  <a:gd name="connsiteY0" fmla="*/ 0 h 462852"/>
                  <a:gd name="connsiteX1" fmla="*/ 358690 w 1514052"/>
                  <a:gd name="connsiteY1" fmla="*/ 0 h 462852"/>
                  <a:gd name="connsiteX2" fmla="*/ 688127 w 1514052"/>
                  <a:gd name="connsiteY2" fmla="*/ 0 h 462852"/>
                  <a:gd name="connsiteX3" fmla="*/ 698661 w 1514052"/>
                  <a:gd name="connsiteY3" fmla="*/ 0 h 462852"/>
                  <a:gd name="connsiteX4" fmla="*/ 815391 w 1514052"/>
                  <a:gd name="connsiteY4" fmla="*/ 0 h 462852"/>
                  <a:gd name="connsiteX5" fmla="*/ 825925 w 1514052"/>
                  <a:gd name="connsiteY5" fmla="*/ 0 h 462852"/>
                  <a:gd name="connsiteX6" fmla="*/ 1155362 w 1514052"/>
                  <a:gd name="connsiteY6" fmla="*/ 0 h 462852"/>
                  <a:gd name="connsiteX7" fmla="*/ 1282626 w 1514052"/>
                  <a:gd name="connsiteY7" fmla="*/ 0 h 462852"/>
                  <a:gd name="connsiteX8" fmla="*/ 1514052 w 1514052"/>
                  <a:gd name="connsiteY8" fmla="*/ 231426 h 462852"/>
                  <a:gd name="connsiteX9" fmla="*/ 1282626 w 1514052"/>
                  <a:gd name="connsiteY9" fmla="*/ 462852 h 462852"/>
                  <a:gd name="connsiteX10" fmla="*/ 1155362 w 1514052"/>
                  <a:gd name="connsiteY10" fmla="*/ 462852 h 462852"/>
                  <a:gd name="connsiteX11" fmla="*/ 825925 w 1514052"/>
                  <a:gd name="connsiteY11" fmla="*/ 462852 h 462852"/>
                  <a:gd name="connsiteX12" fmla="*/ 815391 w 1514052"/>
                  <a:gd name="connsiteY12" fmla="*/ 462852 h 462852"/>
                  <a:gd name="connsiteX13" fmla="*/ 698661 w 1514052"/>
                  <a:gd name="connsiteY13" fmla="*/ 462852 h 462852"/>
                  <a:gd name="connsiteX14" fmla="*/ 688127 w 1514052"/>
                  <a:gd name="connsiteY14" fmla="*/ 462852 h 462852"/>
                  <a:gd name="connsiteX15" fmla="*/ 358690 w 1514052"/>
                  <a:gd name="connsiteY15" fmla="*/ 462852 h 462852"/>
                  <a:gd name="connsiteX16" fmla="*/ 231426 w 1514052"/>
                  <a:gd name="connsiteY16" fmla="*/ 462852 h 462852"/>
                  <a:gd name="connsiteX17" fmla="*/ 0 w 1514052"/>
                  <a:gd name="connsiteY17" fmla="*/ 231426 h 462852"/>
                  <a:gd name="connsiteX18" fmla="*/ 231426 w 1514052"/>
                  <a:gd name="connsiteY18" fmla="*/ 0 h 46285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</a:cxnLst>
                <a:rect l="l" t="t" r="r" b="b"/>
                <a:pathLst>
                  <a:path w="1514052" h="462852">
                    <a:moveTo>
                      <a:pt x="231426" y="0"/>
                    </a:moveTo>
                    <a:lnTo>
                      <a:pt x="358690" y="0"/>
                    </a:lnTo>
                    <a:lnTo>
                      <a:pt x="688127" y="0"/>
                    </a:lnTo>
                    <a:lnTo>
                      <a:pt x="698661" y="0"/>
                    </a:lnTo>
                    <a:lnTo>
                      <a:pt x="815391" y="0"/>
                    </a:lnTo>
                    <a:lnTo>
                      <a:pt x="825925" y="0"/>
                    </a:lnTo>
                    <a:lnTo>
                      <a:pt x="1155362" y="0"/>
                    </a:lnTo>
                    <a:lnTo>
                      <a:pt x="1282626" y="0"/>
                    </a:lnTo>
                    <a:cubicBezTo>
                      <a:pt x="1410439" y="0"/>
                      <a:pt x="1514052" y="103613"/>
                      <a:pt x="1514052" y="231426"/>
                    </a:cubicBezTo>
                    <a:cubicBezTo>
                      <a:pt x="1514052" y="359239"/>
                      <a:pt x="1410439" y="462852"/>
                      <a:pt x="1282626" y="462852"/>
                    </a:cubicBezTo>
                    <a:lnTo>
                      <a:pt x="1155362" y="462852"/>
                    </a:lnTo>
                    <a:lnTo>
                      <a:pt x="825925" y="462852"/>
                    </a:lnTo>
                    <a:lnTo>
                      <a:pt x="815391" y="462852"/>
                    </a:lnTo>
                    <a:lnTo>
                      <a:pt x="698661" y="462852"/>
                    </a:lnTo>
                    <a:lnTo>
                      <a:pt x="688127" y="462852"/>
                    </a:lnTo>
                    <a:lnTo>
                      <a:pt x="358690" y="462852"/>
                    </a:lnTo>
                    <a:lnTo>
                      <a:pt x="231426" y="462852"/>
                    </a:lnTo>
                    <a:cubicBezTo>
                      <a:pt x="103613" y="462852"/>
                      <a:pt x="0" y="359239"/>
                      <a:pt x="0" y="231426"/>
                    </a:cubicBezTo>
                    <a:cubicBezTo>
                      <a:pt x="0" y="103613"/>
                      <a:pt x="103613" y="0"/>
                      <a:pt x="231426" y="0"/>
                    </a:cubicBezTo>
                    <a:close/>
                  </a:path>
                </a:pathLst>
              </a:custGeom>
              <a:noFill/>
              <a:ln>
                <a:solidFill>
                  <a:srgbClr val="BFBFBF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rtlCol="0" anchor="ctr">
                <a:noAutofit/>
              </a:bodyPr>
              <a:lstStyle/>
              <a:p>
                <a:pPr algn="ctr"/>
                <a:endParaRPr lang="ru-RU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215577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/>
          <p:cNvSpPr/>
          <p:nvPr/>
        </p:nvSpPr>
        <p:spPr>
          <a:xfrm flipH="1">
            <a:off x="5770879" y="8187"/>
            <a:ext cx="647993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R="2786"/>
            <a:endParaRPr lang="ru-RU" spc="7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15946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</a:t>
            </a:r>
          </a:p>
        </p:txBody>
      </p:sp>
      <p:sp>
        <p:nvSpPr>
          <p:cNvPr id="18" name="Прямоугольник 17"/>
          <p:cNvSpPr/>
          <p:nvPr/>
        </p:nvSpPr>
        <p:spPr>
          <a:xfrm>
            <a:off x="6400697" y="1960299"/>
            <a:ext cx="6082120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оставление </a:t>
            </a:r>
            <a:r>
              <a:rPr lang="ru-RU" spc="7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«зонтичного» </a:t>
            </a:r>
            <a:r>
              <a:rPr lang="ru-RU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оручительства </a:t>
            </a:r>
            <a:br>
              <a:rPr lang="ru-RU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pc="7" dirty="0">
                <a:gradFill>
                  <a:gsLst>
                    <a:gs pos="0">
                      <a:srgbClr val="FF6464"/>
                    </a:gs>
                    <a:gs pos="95000">
                      <a:schemeClr val="bg2"/>
                    </a:gs>
                  </a:gsLst>
                  <a:lin ang="0" scaled="0"/>
                </a:gradFill>
                <a:latin typeface="Segoe UI" panose="020B0502040204020203" pitchFamily="34" charset="0"/>
                <a:cs typeface="Segoe UI" panose="020B0502040204020203" pitchFamily="34" charset="0"/>
              </a:rPr>
              <a:t>совместно с поручительством РГО 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400697" y="1019331"/>
            <a:ext cx="5952496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24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окрытие </a:t>
            </a:r>
            <a:r>
              <a:rPr lang="ru-RU" sz="2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кредита </a:t>
            </a:r>
            <a:br>
              <a:rPr lang="ru-RU" sz="2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</a:br>
            <a:r>
              <a:rPr lang="ru-RU" sz="2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предпринимателю</a:t>
            </a:r>
            <a:endParaRPr lang="ru-RU" sz="2400" spc="7" dirty="0">
              <a:solidFill>
                <a:schemeClr val="bg1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6425540" y="3352846"/>
            <a:ext cx="2282651" cy="6463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начинающих </a:t>
            </a:r>
            <a: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4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 </a:t>
            </a: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олодых предпринимателей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724866" y="962053"/>
            <a:ext cx="4834048" cy="393954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lvl="0">
              <a:defRPr/>
            </a:pPr>
            <a:r>
              <a:rPr lang="ru-RU" sz="3200" dirty="0" smtClean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«Зонтичный» механизм </a:t>
            </a:r>
            <a:br>
              <a:rPr lang="ru-RU" sz="3200" dirty="0" smtClean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3200" dirty="0" smtClean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+ поручительство </a:t>
            </a:r>
            <a:br>
              <a:rPr lang="ru-RU" sz="3200" dirty="0" smtClean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3200" dirty="0" smtClean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в </a:t>
            </a:r>
            <a:r>
              <a:rPr lang="ru-RU" sz="3200" dirty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Кировском областном фонде </a:t>
            </a:r>
            <a:r>
              <a:rPr lang="ru-RU" sz="3200" dirty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ддержки малого и среднего предпринимательства (</a:t>
            </a:r>
            <a:r>
              <a:rPr lang="ru-RU" sz="3200" dirty="0" err="1" smtClean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микрокредитной</a:t>
            </a:r>
            <a:r>
              <a:rPr lang="ru-RU" sz="3200" dirty="0" smtClean="0">
                <a:solidFill>
                  <a:srgbClr val="FF6464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 компании)</a:t>
            </a:r>
            <a:endParaRPr lang="ru-RU" sz="3200" dirty="0">
              <a:solidFill>
                <a:srgbClr val="FF6464"/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9265819" y="3380636"/>
            <a:ext cx="2278819" cy="21544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</a:t>
            </a:r>
            <a:r>
              <a:rPr lang="ru-RU" sz="1400" spc="7" dirty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 </a:t>
            </a:r>
            <a:r>
              <a:rPr lang="ru-RU" sz="1400" spc="7" dirty="0" smtClean="0">
                <a:solidFill>
                  <a:schemeClr val="bg1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сех </a:t>
            </a:r>
            <a:r>
              <a:rPr lang="ru-RU" sz="140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траслей</a:t>
            </a: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6400697" y="2711462"/>
            <a:ext cx="1811569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45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90%</a:t>
            </a:r>
            <a:endParaRPr lang="ru-RU" sz="45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2" name="Прямоугольник 41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236011" y="2711342"/>
            <a:ext cx="1811569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en-US" sz="45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70%</a:t>
            </a:r>
            <a:endParaRPr lang="ru-RU" sz="45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697" y="4843622"/>
            <a:ext cx="5638147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 algn="l" defTabSz="457200" rtl="0" eaLnBrk="1" fontAlgn="auto" latinLnBrk="0" hangingPunct="1">
              <a:lnSpc>
                <a:spcPct val="100000"/>
              </a:lnSpc>
              <a:spcBef>
                <a:spcPts val="361"/>
              </a:spcBef>
              <a:spcAft>
                <a:spcPts val="657"/>
              </a:spcAft>
              <a:buClr>
                <a:schemeClr val="accent2"/>
              </a:buClr>
              <a:buSzPct val="150000"/>
              <a:tabLst/>
              <a:defRPr/>
            </a:pP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оручительство по кредиту предоставляется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/>
            </a:r>
            <a:b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</a:b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в 12 банках-участниках </a:t>
            </a:r>
            <a:r>
              <a:rPr kumimoji="0" lang="ru-RU" sz="1600" b="0" i="0" u="none" strike="noStrike" kern="1200" cap="none" spc="7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при выдаче </a:t>
            </a:r>
            <a:r>
              <a:rPr kumimoji="0" lang="ru-RU" sz="1600" b="0" i="0" u="none" strike="noStrike" kern="1200" cap="none" spc="7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кредита</a:t>
            </a:r>
            <a:endParaRPr kumimoji="0" lang="ru-RU" sz="1600" b="0" i="0" u="none" strike="noStrike" kern="1200" cap="none" spc="7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745220" y="327804"/>
            <a:ext cx="4301233" cy="2000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3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91919">
                    <a:lumMod val="25000"/>
                    <a:lumOff val="75000"/>
                  </a:srgbClr>
                </a:solidFill>
                <a:effectLst/>
                <a:uLnTx/>
                <a:uFillTx/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Финансовые меры поддержки</a:t>
            </a:r>
            <a:endParaRPr kumimoji="0" lang="ru-RU" sz="1300" b="0" i="0" u="none" strike="noStrike" kern="1200" cap="none" spc="0" normalizeH="0" baseline="0" noProof="0" dirty="0">
              <a:ln>
                <a:noFill/>
              </a:ln>
              <a:solidFill>
                <a:srgbClr val="191919">
                  <a:lumMod val="25000"/>
                  <a:lumOff val="75000"/>
                </a:srgbClr>
              </a:solidFill>
              <a:effectLst/>
              <a:uLnTx/>
              <a:uFillTx/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pic>
        <p:nvPicPr>
          <p:cNvPr id="17" name="Рисунок 1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0901287" y="288619"/>
            <a:ext cx="595388" cy="3076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01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20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Прямоугольник 27"/>
          <p:cNvSpPr/>
          <p:nvPr/>
        </p:nvSpPr>
        <p:spPr>
          <a:xfrm>
            <a:off x="-20848" y="1"/>
            <a:ext cx="12212848" cy="25070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6" name="Номер слайда 1"/>
          <p:cNvSpPr txBox="1">
            <a:spLocks/>
          </p:cNvSpPr>
          <p:nvPr/>
        </p:nvSpPr>
        <p:spPr>
          <a:xfrm>
            <a:off x="11100911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6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745221" y="2815242"/>
            <a:ext cx="10536771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800" dirty="0">
                <a:solidFill>
                  <a:schemeClr val="accent2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ртрет заемщика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5723" y="283635"/>
            <a:ext cx="1607729" cy="40148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9164" y="376111"/>
            <a:ext cx="1187511" cy="292115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9482729" y="360567"/>
            <a:ext cx="595388" cy="307659"/>
          </a:xfrm>
          <a:prstGeom prst="rect">
            <a:avLst/>
          </a:prstGeom>
        </p:spPr>
      </p:pic>
      <p:sp>
        <p:nvSpPr>
          <p:cNvPr id="33" name="Прямоугольник 32"/>
          <p:cNvSpPr/>
          <p:nvPr/>
        </p:nvSpPr>
        <p:spPr>
          <a:xfrm>
            <a:off x="745220" y="578036"/>
            <a:ext cx="11112000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spc="-10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Льготное кредитование </a:t>
            </a:r>
            <a:r>
              <a:rPr lang="en-US" sz="3600" spc="-10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/>
            </a:r>
            <a:br>
              <a:rPr lang="en-US" sz="3600" spc="-10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sz="2400" spc="-100" dirty="0" smtClean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технологических компаний в МСП </a:t>
            </a:r>
            <a:r>
              <a:rPr lang="ru-RU" sz="24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Банке при участии Корпорации МСП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745220" y="1743250"/>
            <a:ext cx="10702359" cy="33855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200" spc="7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 рамках реализации стратегической инициативы «Взлет – от стартапа до </a:t>
            </a:r>
            <a:r>
              <a:rPr lang="en-US" sz="2200" spc="7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PO</a:t>
            </a:r>
            <a:r>
              <a:rPr lang="ru-RU" sz="2200" spc="7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»</a:t>
            </a:r>
            <a:endParaRPr lang="ru-RU" sz="2200" b="1" spc="7" dirty="0">
              <a:solidFill>
                <a:schemeClr val="bg1">
                  <a:lumMod val="9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1310901" y="3518156"/>
            <a:ext cx="252511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субъект МСП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232983" y="3518156"/>
            <a:ext cx="2723896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ручка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от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100 млн рублей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310901" y="4110749"/>
            <a:ext cx="231403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темп роста выручки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за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3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года более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12%</a:t>
            </a:r>
          </a:p>
        </p:txBody>
      </p:sp>
      <p:pic>
        <p:nvPicPr>
          <p:cNvPr id="44" name="Рисунок 43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77826" y="3525724"/>
            <a:ext cx="277803" cy="254654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0485" y="4203621"/>
            <a:ext cx="247494" cy="301632"/>
          </a:xfrm>
          <a:prstGeom prst="rect">
            <a:avLst/>
          </a:prstGeom>
        </p:spPr>
      </p:pic>
      <p:pic>
        <p:nvPicPr>
          <p:cNvPr id="47" name="Рисунок 46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220" y="3478101"/>
            <a:ext cx="390678" cy="326330"/>
          </a:xfrm>
          <a:prstGeom prst="rect">
            <a:avLst/>
          </a:prstGeom>
        </p:spPr>
      </p:pic>
      <p:pic>
        <p:nvPicPr>
          <p:cNvPr id="48" name="Рисунок 47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722" y="4205219"/>
            <a:ext cx="291804" cy="239429"/>
          </a:xfrm>
          <a:prstGeom prst="rect">
            <a:avLst/>
          </a:prstGeom>
        </p:spPr>
      </p:pic>
      <p:pic>
        <p:nvPicPr>
          <p:cNvPr id="49" name="Рисунок 48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1077" y="5036563"/>
            <a:ext cx="324822" cy="324822"/>
          </a:xfrm>
          <a:prstGeom prst="rect">
            <a:avLst/>
          </a:prstGeom>
        </p:spPr>
      </p:pic>
      <p:cxnSp>
        <p:nvCxnSpPr>
          <p:cNvPr id="54" name="Прямая соединительная линия 53"/>
          <p:cNvCxnSpPr/>
          <p:nvPr/>
        </p:nvCxnSpPr>
        <p:spPr>
          <a:xfrm flipV="1">
            <a:off x="8875174" y="3404156"/>
            <a:ext cx="0" cy="2265903"/>
          </a:xfrm>
          <a:prstGeom prst="line">
            <a:avLst/>
          </a:prstGeom>
          <a:ln w="15875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/>
          <p:cNvSpPr txBox="1"/>
          <p:nvPr/>
        </p:nvSpPr>
        <p:spPr>
          <a:xfrm>
            <a:off x="1310902" y="4949564"/>
            <a:ext cx="3047738" cy="147732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ид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экономической </a:t>
            </a:r>
          </a:p>
          <a:p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еятельности относится </a:t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к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иоритетным,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продукция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является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высокотехнологичной  </a:t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 инновационной</a:t>
            </a:r>
            <a:endParaRPr lang="ru-RU" sz="1600" kern="0" spc="-5" dirty="0">
              <a:latin typeface="Segoe UI Semibold" panose="020B0702040204020203" pitchFamily="34" charset="0"/>
              <a:ea typeface="PT Root UI Light" panose="020B02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56" name="TextBox 55"/>
          <p:cNvSpPr txBox="1"/>
          <p:nvPr/>
        </p:nvSpPr>
        <p:spPr>
          <a:xfrm>
            <a:off x="5232984" y="4110749"/>
            <a:ext cx="2723896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личие права </a:t>
            </a: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/>
            </a:r>
            <a:b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</a:br>
            <a:r>
              <a:rPr lang="ru-RU" sz="1600" kern="0" spc="-5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на результаты интеллектуальной деятельности </a:t>
            </a:r>
            <a:r>
              <a:rPr lang="ru-RU" sz="1600" kern="0" spc="-5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(патент)</a:t>
            </a:r>
          </a:p>
        </p:txBody>
      </p:sp>
      <p:sp>
        <p:nvSpPr>
          <p:cNvPr id="57" name="Прямоугольник 56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3242358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%</a:t>
            </a:r>
            <a:endParaRPr lang="ru-RU" sz="36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9550433" y="3785741"/>
            <a:ext cx="1743913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конечная </a:t>
            </a: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авка </a:t>
            </a:r>
            <a:b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для заемщика</a:t>
            </a:r>
          </a:p>
        </p:txBody>
      </p: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50433" y="4634233"/>
            <a:ext cx="1431584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3600" spc="7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 года</a:t>
            </a:r>
            <a:endParaRPr lang="ru-RU" sz="3600" spc="7" dirty="0">
              <a:solidFill>
                <a:schemeClr val="accent2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9550434" y="5177616"/>
            <a:ext cx="1431584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>
              <a:spcBef>
                <a:spcPts val="361"/>
              </a:spcBef>
              <a:spcAft>
                <a:spcPts val="657"/>
              </a:spcAft>
            </a:pPr>
            <a:r>
              <a:rPr lang="ru-RU" sz="1600" spc="7" dirty="0" smtClean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аксимальный </a:t>
            </a: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>
                <a:solidFill>
                  <a:srgbClr val="191919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рок кредита</a:t>
            </a: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sp>
        <p:nvSpPr>
          <p:cNvPr id="30" name="Полилиния 29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51954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35353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731838" y="2630039"/>
            <a:ext cx="2441668" cy="1655980"/>
          </a:xfrm>
          <a:prstGeom prst="roundRect">
            <a:avLst>
              <a:gd name="adj" fmla="val 843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9" name="Скругленный прямоугольник 58"/>
          <p:cNvSpPr/>
          <p:nvPr/>
        </p:nvSpPr>
        <p:spPr>
          <a:xfrm>
            <a:off x="3249447" y="2630039"/>
            <a:ext cx="2622435" cy="1655980"/>
          </a:xfrm>
          <a:prstGeom prst="roundRect">
            <a:avLst>
              <a:gd name="adj" fmla="val 843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8" name="Прямоугольник 27"/>
          <p:cNvSpPr/>
          <p:nvPr/>
        </p:nvSpPr>
        <p:spPr>
          <a:xfrm>
            <a:off x="-20848" y="0"/>
            <a:ext cx="12212848" cy="1396109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tx1"/>
              </a:solidFill>
            </a:endParaRPr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66" name="Слайд think-cell" r:id="rId5" imgW="347" imgH="348" progId="TCLayout.ActiveDocument.1">
                  <p:embed/>
                </p:oleObj>
              </mc:Choice>
              <mc:Fallback>
                <p:oleObj name="Слайд think-cell" r:id="rId5" imgW="347" imgH="348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Номер слайда 1"/>
          <p:cNvSpPr txBox="1">
            <a:spLocks/>
          </p:cNvSpPr>
          <p:nvPr/>
        </p:nvSpPr>
        <p:spPr>
          <a:xfrm>
            <a:off x="11118422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7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713908" y="1514572"/>
            <a:ext cx="500093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800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Внесение изменений в КоАП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745220" y="442416"/>
            <a:ext cx="10355691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нижение административной нагрузки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729437" y="2712471"/>
            <a:ext cx="3443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554492"/>
            <a:r>
              <a:rPr lang="en-US" sz="2400" spc="-10" dirty="0" smtClean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1</a:t>
            </a:r>
            <a:endParaRPr lang="ru-RU" sz="2400" spc="-10" dirty="0"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25" name="Прямоугольник 24"/>
          <p:cNvSpPr/>
          <p:nvPr/>
        </p:nvSpPr>
        <p:spPr>
          <a:xfrm>
            <a:off x="3270025" y="2712471"/>
            <a:ext cx="3443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554492"/>
            <a:r>
              <a:rPr lang="ru-RU" sz="2400" spc="-10" dirty="0" smtClean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2</a:t>
            </a:r>
            <a:endParaRPr lang="ru-RU" sz="2400" spc="-10" dirty="0"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62" name="Рисунок 6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0901287" y="288618"/>
            <a:ext cx="595388" cy="307659"/>
          </a:xfrm>
          <a:prstGeom prst="rect">
            <a:avLst/>
          </a:prstGeom>
        </p:spPr>
      </p:pic>
      <p:sp>
        <p:nvSpPr>
          <p:cNvPr id="63" name="Скругленный прямоугольник 62"/>
          <p:cNvSpPr/>
          <p:nvPr/>
        </p:nvSpPr>
        <p:spPr>
          <a:xfrm>
            <a:off x="731838" y="4353878"/>
            <a:ext cx="2441668" cy="1655980"/>
          </a:xfrm>
          <a:prstGeom prst="roundRect">
            <a:avLst>
              <a:gd name="adj" fmla="val 843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5" name="Прямоугольник 64"/>
          <p:cNvSpPr/>
          <p:nvPr/>
        </p:nvSpPr>
        <p:spPr>
          <a:xfrm>
            <a:off x="728032" y="4460717"/>
            <a:ext cx="3443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554492"/>
            <a:r>
              <a:rPr lang="ru-RU" sz="2400" spc="-10" dirty="0" smtClean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3</a:t>
            </a:r>
            <a:endParaRPr lang="ru-RU" sz="2400" spc="-10" dirty="0"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6" name="Прямоугольник 65"/>
          <p:cNvSpPr/>
          <p:nvPr/>
        </p:nvSpPr>
        <p:spPr>
          <a:xfrm>
            <a:off x="3270025" y="4460717"/>
            <a:ext cx="3443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554492"/>
            <a:r>
              <a:rPr lang="ru-RU" sz="2400" spc="-10" dirty="0" smtClean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4</a:t>
            </a:r>
            <a:endParaRPr lang="ru-RU" sz="2400" spc="-10" dirty="0"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67" name="TextBox 66"/>
          <p:cNvSpPr txBox="1"/>
          <p:nvPr/>
        </p:nvSpPr>
        <p:spPr>
          <a:xfrm>
            <a:off x="1063579" y="3298660"/>
            <a:ext cx="1879549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Предупреждать </a:t>
            </a:r>
            <a: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при </a:t>
            </a:r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первом нарушении </a:t>
            </a:r>
            <a: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и </a:t>
            </a:r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разъяснять, </a:t>
            </a:r>
            <a:r>
              <a:rPr lang="en-US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/>
            </a:r>
            <a:br>
              <a:rPr lang="en-US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</a:br>
            <a: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а </a:t>
            </a:r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не сразу штрафовать </a:t>
            </a:r>
            <a:endParaRPr lang="ru-RU" sz="1100" kern="0" spc="-3" dirty="0">
              <a:solidFill>
                <a:srgbClr val="FF6464"/>
              </a:solidFill>
              <a:latin typeface="Segoe UI" panose="020B0502040204020203" pitchFamily="34" charset="0"/>
              <a:ea typeface="PT Root UI Light" panose="020B02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1087769" y="4997224"/>
            <a:ext cx="1963831" cy="8463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Уменьшить размер штрафа </a:t>
            </a:r>
            <a:r>
              <a:rPr lang="ru-RU" sz="1100" kern="0" spc="-3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для микро </a:t>
            </a:r>
            <a:r>
              <a:rPr lang="ru-RU" sz="1100" kern="0" spc="-3" dirty="0" smtClean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и </a:t>
            </a:r>
            <a:r>
              <a:rPr lang="ru-RU" sz="1100" kern="0" spc="-3" dirty="0">
                <a:latin typeface="Segoe UI Semibold" panose="020B0702040204020203" pitchFamily="34" charset="0"/>
                <a:ea typeface="PT Root UI Light" panose="020B0203020202020204" pitchFamily="34" charset="-52"/>
                <a:cs typeface="Segoe UI Semibold" panose="020B0702040204020203" pitchFamily="34" charset="0"/>
              </a:rPr>
              <a:t>малых предприятий, </a:t>
            </a:r>
            <a: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приравнять </a:t>
            </a:r>
            <a:r>
              <a:rPr lang="en-US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/>
            </a:r>
            <a:br>
              <a:rPr lang="en-US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</a:br>
            <a: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их </a:t>
            </a:r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по размеру штрафа </a:t>
            </a:r>
            <a:r>
              <a:rPr lang="en-US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/>
            </a:r>
            <a:br>
              <a:rPr lang="en-US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</a:br>
            <a: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для </a:t>
            </a:r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ИП </a:t>
            </a:r>
          </a:p>
        </p:txBody>
      </p:sp>
      <p:sp>
        <p:nvSpPr>
          <p:cNvPr id="69" name="TextBox 68"/>
          <p:cNvSpPr txBox="1"/>
          <p:nvPr/>
        </p:nvSpPr>
        <p:spPr>
          <a:xfrm>
            <a:off x="3801047" y="4997224"/>
            <a:ext cx="1837753" cy="5078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Не суммировать штрафы</a:t>
            </a:r>
            <a:b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</a:br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в рамках одной проверки</a:t>
            </a:r>
            <a:endParaRPr lang="ru-RU" sz="1100" kern="0" spc="-3" dirty="0">
              <a:solidFill>
                <a:srgbClr val="FF6464"/>
              </a:solidFill>
              <a:latin typeface="Segoe UI" panose="020B0502040204020203" pitchFamily="34" charset="0"/>
              <a:ea typeface="PT Root UI Light" panose="020B0203020202020204" pitchFamily="34" charset="-52"/>
              <a:cs typeface="Segoe UI" panose="020B0502040204020203" pitchFamily="34" charset="0"/>
            </a:endParaRPr>
          </a:p>
          <a:p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  </a:t>
            </a:r>
          </a:p>
        </p:txBody>
      </p:sp>
      <p:sp>
        <p:nvSpPr>
          <p:cNvPr id="70" name="Прямоугольник 69"/>
          <p:cNvSpPr/>
          <p:nvPr/>
        </p:nvSpPr>
        <p:spPr>
          <a:xfrm>
            <a:off x="1063579" y="2761548"/>
            <a:ext cx="1879549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348583"/>
            <a:r>
              <a:rPr lang="ru-RU" sz="1400" spc="-6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«Право </a:t>
            </a:r>
            <a:r>
              <a:rPr lang="en-US" sz="1400" spc="-6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/>
            </a:r>
            <a:br>
              <a:rPr lang="en-US" sz="1400" spc="-6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</a:br>
            <a:r>
              <a:rPr lang="ru-RU" sz="1400" spc="-6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на </a:t>
            </a:r>
            <a:r>
              <a:rPr lang="ru-RU" sz="1400" spc="-6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ошибку» </a:t>
            </a:r>
          </a:p>
        </p:txBody>
      </p:sp>
      <p:sp>
        <p:nvSpPr>
          <p:cNvPr id="71" name="TextBox 70"/>
          <p:cNvSpPr txBox="1"/>
          <p:nvPr/>
        </p:nvSpPr>
        <p:spPr>
          <a:xfrm>
            <a:off x="3617547" y="3298660"/>
            <a:ext cx="2049936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Не штрафовать одновременно юридическое лицо </a:t>
            </a:r>
            <a: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/>
            </a:r>
            <a:b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</a:br>
            <a: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и </a:t>
            </a:r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должностное лицо </a:t>
            </a:r>
            <a:b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</a:br>
            <a:endParaRPr lang="ru-RU" sz="1100" kern="0" spc="-3" dirty="0">
              <a:solidFill>
                <a:srgbClr val="FF6464"/>
              </a:solidFill>
              <a:latin typeface="Segoe UI" panose="020B0502040204020203" pitchFamily="34" charset="0"/>
              <a:ea typeface="PT Root UI Light" panose="020B02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1087768" y="4487173"/>
            <a:ext cx="1915448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348583"/>
            <a:r>
              <a:rPr lang="ru-RU" sz="1400" spc="-6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Уменьшение размера </a:t>
            </a:r>
          </a:p>
          <a:p>
            <a:pPr defTabSz="348583"/>
            <a:r>
              <a:rPr lang="ru-RU" sz="1400" spc="-6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штрафов 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3623403" y="2761548"/>
            <a:ext cx="205723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348583"/>
            <a:r>
              <a:rPr lang="ru-RU" sz="1400" spc="-6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Исключение дублирования штрафов 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3801047" y="4487173"/>
            <a:ext cx="169951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54890" indent="-54890" defTabSz="348583"/>
            <a:r>
              <a:rPr lang="ru-RU" sz="1400" spc="-6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«</a:t>
            </a:r>
            <a:r>
              <a:rPr lang="ru-RU" sz="1400" spc="-6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Одна проверка </a:t>
            </a:r>
            <a:r>
              <a:rPr lang="ru-RU" sz="1400" spc="-6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– </a:t>
            </a:r>
          </a:p>
          <a:p>
            <a:pPr marL="54890" indent="-54890" defTabSz="348583"/>
            <a:r>
              <a:rPr lang="ru-RU" sz="1400" spc="-6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одна санкция»</a:t>
            </a:r>
          </a:p>
        </p:txBody>
      </p:sp>
      <p:sp>
        <p:nvSpPr>
          <p:cNvPr id="75" name="Скругленный прямоугольник 74"/>
          <p:cNvSpPr/>
          <p:nvPr/>
        </p:nvSpPr>
        <p:spPr>
          <a:xfrm>
            <a:off x="6498685" y="2630039"/>
            <a:ext cx="2505010" cy="1655980"/>
          </a:xfrm>
          <a:prstGeom prst="roundRect">
            <a:avLst>
              <a:gd name="adj" fmla="val 843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6" name="Скругленный прямоугольник 75"/>
          <p:cNvSpPr/>
          <p:nvPr/>
        </p:nvSpPr>
        <p:spPr>
          <a:xfrm>
            <a:off x="9079636" y="2630039"/>
            <a:ext cx="2417040" cy="1655980"/>
          </a:xfrm>
          <a:prstGeom prst="roundRect">
            <a:avLst>
              <a:gd name="adj" fmla="val 843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7" name="Прямоугольник 76"/>
          <p:cNvSpPr/>
          <p:nvPr/>
        </p:nvSpPr>
        <p:spPr>
          <a:xfrm>
            <a:off x="6520474" y="2712471"/>
            <a:ext cx="3443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554492"/>
            <a:r>
              <a:rPr lang="ru-RU" sz="2400" spc="-10" dirty="0" smtClean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5</a:t>
            </a:r>
            <a:endParaRPr lang="ru-RU" sz="2400" spc="-10" dirty="0"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8" name="Прямоугольник 77"/>
          <p:cNvSpPr/>
          <p:nvPr/>
        </p:nvSpPr>
        <p:spPr>
          <a:xfrm>
            <a:off x="9095118" y="2712471"/>
            <a:ext cx="3443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554492"/>
            <a:r>
              <a:rPr lang="ru-RU" sz="2400" spc="-10" dirty="0" smtClean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6</a:t>
            </a:r>
            <a:endParaRPr lang="ru-RU" sz="2400" spc="-10" dirty="0"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9" name="Скругленный прямоугольник 78"/>
          <p:cNvSpPr/>
          <p:nvPr/>
        </p:nvSpPr>
        <p:spPr>
          <a:xfrm>
            <a:off x="6498685" y="4353878"/>
            <a:ext cx="2441668" cy="1578984"/>
          </a:xfrm>
          <a:prstGeom prst="roundRect">
            <a:avLst>
              <a:gd name="adj" fmla="val 8431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1" name="Прямоугольник 80"/>
          <p:cNvSpPr/>
          <p:nvPr/>
        </p:nvSpPr>
        <p:spPr>
          <a:xfrm>
            <a:off x="6494879" y="4460717"/>
            <a:ext cx="3443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554492"/>
            <a:r>
              <a:rPr lang="ru-RU" sz="2400" spc="-10" dirty="0" smtClean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7</a:t>
            </a:r>
            <a:endParaRPr lang="ru-RU" sz="2400" spc="-10" dirty="0"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3" name="TextBox 82"/>
          <p:cNvSpPr txBox="1"/>
          <p:nvPr/>
        </p:nvSpPr>
        <p:spPr>
          <a:xfrm>
            <a:off x="6854616" y="3404477"/>
            <a:ext cx="2029289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При </a:t>
            </a:r>
            <a: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предотвращении последствий </a:t>
            </a:r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нарушения </a:t>
            </a:r>
            <a:r>
              <a:rPr lang="en-US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/>
            </a:r>
            <a:br>
              <a:rPr lang="en-US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</a:br>
            <a: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штраф </a:t>
            </a:r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назначается </a:t>
            </a:r>
            <a:r>
              <a:rPr lang="en-US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/>
            </a:r>
            <a:br>
              <a:rPr lang="en-US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</a:br>
            <a: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в </a:t>
            </a:r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минимальном размере </a:t>
            </a:r>
          </a:p>
        </p:txBody>
      </p:sp>
      <p:sp>
        <p:nvSpPr>
          <p:cNvPr id="84" name="TextBox 83"/>
          <p:cNvSpPr txBox="1"/>
          <p:nvPr/>
        </p:nvSpPr>
        <p:spPr>
          <a:xfrm>
            <a:off x="6864798" y="4997224"/>
            <a:ext cx="1803908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Исполнение наказания можно отсрочить на срок до </a:t>
            </a:r>
            <a: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6 </a:t>
            </a:r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месяцев  </a:t>
            </a:r>
            <a: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/>
            </a:r>
            <a:b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</a:br>
            <a: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(</a:t>
            </a:r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ранее – </a:t>
            </a:r>
            <a: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до </a:t>
            </a:r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1 месяца) </a:t>
            </a:r>
            <a:endParaRPr lang="ru-RU" sz="1100" kern="0" spc="-3" dirty="0">
              <a:solidFill>
                <a:srgbClr val="FF6464"/>
              </a:solidFill>
              <a:latin typeface="Segoe UI" panose="020B0502040204020203" pitchFamily="34" charset="0"/>
              <a:ea typeface="PT Root UI Light" panose="020B02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6854615" y="2761548"/>
            <a:ext cx="1879549" cy="71814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348583">
              <a:lnSpc>
                <a:spcPts val="1400"/>
              </a:lnSpc>
            </a:pPr>
            <a:r>
              <a:rPr lang="ru-RU" sz="1400" spc="-6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Минимальный штраф при компенсации ущерба </a:t>
            </a:r>
            <a:br>
              <a:rPr lang="ru-RU" sz="1400" spc="-6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</a:br>
            <a:endParaRPr lang="ru-RU" sz="1400" spc="-6" dirty="0">
              <a:solidFill>
                <a:schemeClr val="accent2"/>
              </a:solidFill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89" name="TextBox 88"/>
          <p:cNvSpPr txBox="1"/>
          <p:nvPr/>
        </p:nvSpPr>
        <p:spPr>
          <a:xfrm>
            <a:off x="9454926" y="3298660"/>
            <a:ext cx="1913798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Штраф снижается наполовину в случае оплаты в течение </a:t>
            </a:r>
            <a:r>
              <a:rPr lang="ru-RU" sz="1100" kern="0" spc="-3" dirty="0" smtClean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20 </a:t>
            </a:r>
            <a:r>
              <a:rPr lang="ru-RU" sz="1100" kern="0" spc="-3" dirty="0"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дней с даты вынесения постановления</a:t>
            </a:r>
            <a:endParaRPr lang="ru-RU" sz="1100" kern="0" spc="-3" dirty="0">
              <a:solidFill>
                <a:srgbClr val="FF6464"/>
              </a:solidFill>
              <a:latin typeface="Segoe UI" panose="020B0502040204020203" pitchFamily="34" charset="0"/>
              <a:ea typeface="PT Root UI Light" panose="020B02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90" name="Прямоугольник 89"/>
          <p:cNvSpPr/>
          <p:nvPr/>
        </p:nvSpPr>
        <p:spPr>
          <a:xfrm>
            <a:off x="6854615" y="4487173"/>
            <a:ext cx="1391533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348583"/>
            <a:r>
              <a:rPr lang="ru-RU" sz="1400" spc="-6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Отсрочка наказания</a:t>
            </a:r>
          </a:p>
        </p:txBody>
      </p:sp>
      <p:sp>
        <p:nvSpPr>
          <p:cNvPr id="91" name="Прямоугольник 90"/>
          <p:cNvSpPr/>
          <p:nvPr/>
        </p:nvSpPr>
        <p:spPr>
          <a:xfrm>
            <a:off x="9454925" y="2761548"/>
            <a:ext cx="1663497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348583"/>
            <a:r>
              <a:rPr lang="ru-RU" sz="1400" spc="-6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Снижение </a:t>
            </a:r>
            <a:br>
              <a:rPr lang="ru-RU" sz="1400" spc="-6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</a:br>
            <a:r>
              <a:rPr lang="ru-RU" sz="1400" spc="-6" dirty="0">
                <a:solidFill>
                  <a:schemeClr val="accent2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штрафа на 50%</a:t>
            </a:r>
          </a:p>
        </p:txBody>
      </p:sp>
      <p:sp>
        <p:nvSpPr>
          <p:cNvPr id="99" name="TextBox 98"/>
          <p:cNvSpPr txBox="1"/>
          <p:nvPr/>
        </p:nvSpPr>
        <p:spPr>
          <a:xfrm>
            <a:off x="731837" y="6268999"/>
            <a:ext cx="9263809" cy="20005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300" kern="0" spc="-3" dirty="0">
                <a:solidFill>
                  <a:schemeClr val="tx1">
                    <a:lumMod val="90000"/>
                    <a:lumOff val="10000"/>
                  </a:schemeClr>
                </a:solidFill>
                <a:latin typeface="Segoe UI" panose="020B0502040204020203" pitchFamily="34" charset="0"/>
                <a:ea typeface="PT Root UI Light" panose="020B0203020202020204" pitchFamily="34" charset="-52"/>
                <a:cs typeface="Segoe UI" panose="020B0502040204020203" pitchFamily="34" charset="0"/>
              </a:rPr>
              <a:t>Корпорация МСП проводит ряд мероприятий по подробному разъяснению принятых изменений</a:t>
            </a:r>
          </a:p>
        </p:txBody>
      </p:sp>
      <p:sp>
        <p:nvSpPr>
          <p:cNvPr id="100" name="Скругленный прямоугольник 99">
            <a:extLst>
              <a:ext uri="{FF2B5EF4-FFF2-40B4-BE49-F238E27FC236}">
                <a16:creationId xmlns:a16="http://schemas.microsoft.com/office/drawing/2014/main" id="{837E3327-67C7-CF48-A192-F510E0B3FBD5}"/>
              </a:ext>
            </a:extLst>
          </p:cNvPr>
          <p:cNvSpPr/>
          <p:nvPr/>
        </p:nvSpPr>
        <p:spPr>
          <a:xfrm>
            <a:off x="713908" y="2154305"/>
            <a:ext cx="5157973" cy="367873"/>
          </a:xfrm>
          <a:prstGeom prst="roundRect">
            <a:avLst>
              <a:gd name="adj" fmla="val 50000"/>
            </a:avLst>
          </a:prstGeom>
          <a:solidFill>
            <a:srgbClr val="E5D8D3"/>
          </a:solidFill>
        </p:spPr>
        <p:txBody>
          <a:bodyPr wrap="square">
            <a:spAutoFit/>
          </a:bodyPr>
          <a:lstStyle/>
          <a:p>
            <a:pPr algn="ctr" defTabSz="348609"/>
            <a:r>
              <a:rPr lang="ru-RU" sz="1100" spc="-6" dirty="0" smtClean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вступили </a:t>
            </a:r>
            <a:r>
              <a:rPr lang="ru-RU" sz="1100" spc="-6" dirty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в силу с 6 апреля </a:t>
            </a:r>
            <a:r>
              <a:rPr lang="ru-RU" sz="1100" spc="-6" dirty="0" smtClean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2022 г.</a:t>
            </a:r>
            <a:endParaRPr lang="ru-RU" sz="1100" spc="-6" dirty="0"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1" name="Скругленный прямоугольник 100">
            <a:extLst>
              <a:ext uri="{FF2B5EF4-FFF2-40B4-BE49-F238E27FC236}">
                <a16:creationId xmlns:a16="http://schemas.microsoft.com/office/drawing/2014/main" id="{837E3327-67C7-CF48-A192-F510E0B3FBD5}"/>
              </a:ext>
            </a:extLst>
          </p:cNvPr>
          <p:cNvSpPr/>
          <p:nvPr/>
        </p:nvSpPr>
        <p:spPr>
          <a:xfrm>
            <a:off x="6500751" y="2154305"/>
            <a:ext cx="4995924" cy="367873"/>
          </a:xfrm>
          <a:prstGeom prst="roundRect">
            <a:avLst>
              <a:gd name="adj" fmla="val 50000"/>
            </a:avLst>
          </a:prstGeom>
          <a:solidFill>
            <a:srgbClr val="E5D8D3"/>
          </a:solidFill>
        </p:spPr>
        <p:txBody>
          <a:bodyPr wrap="square">
            <a:spAutoFit/>
          </a:bodyPr>
          <a:lstStyle/>
          <a:p>
            <a:pPr algn="ctr" defTabSz="348609"/>
            <a:r>
              <a:rPr lang="ru-RU" sz="1100" spc="-6" dirty="0" smtClean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вступили </a:t>
            </a:r>
            <a:r>
              <a:rPr lang="ru-RU" sz="1100" spc="-6" dirty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в силу с 25 </a:t>
            </a:r>
            <a:r>
              <a:rPr lang="ru-RU" sz="1100" spc="-6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июля </a:t>
            </a:r>
            <a:r>
              <a:rPr lang="ru-RU" sz="1100" spc="-6" smtClean="0"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2022 г. </a:t>
            </a:r>
            <a:endParaRPr lang="ru-RU" sz="1100" spc="-6" dirty="0"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grpSp>
        <p:nvGrpSpPr>
          <p:cNvPr id="110" name="Группа 109"/>
          <p:cNvGrpSpPr/>
          <p:nvPr/>
        </p:nvGrpSpPr>
        <p:grpSpPr>
          <a:xfrm>
            <a:off x="2329928" y="5167489"/>
            <a:ext cx="1195713" cy="1078292"/>
            <a:chOff x="2205195" y="1064478"/>
            <a:chExt cx="1928111" cy="1662165"/>
          </a:xfrm>
        </p:grpSpPr>
        <p:sp>
          <p:nvSpPr>
            <p:cNvPr id="111" name="TextBox 110"/>
            <p:cNvSpPr txBox="1"/>
            <p:nvPr/>
          </p:nvSpPr>
          <p:spPr>
            <a:xfrm>
              <a:off x="2794374" y="1675769"/>
              <a:ext cx="769443" cy="282027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prstTxWarp prst="textArchUp">
                <a:avLst/>
              </a:prstTxWarp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rgbClr val="FF6464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</a:rPr>
                <a:t>для</a:t>
              </a:r>
            </a:p>
          </p:txBody>
        </p:sp>
        <p:sp>
          <p:nvSpPr>
            <p:cNvPr id="112" name="Равнобедренный треугольник 111"/>
            <p:cNvSpPr/>
            <p:nvPr/>
          </p:nvSpPr>
          <p:spPr>
            <a:xfrm>
              <a:off x="2205195" y="1064478"/>
              <a:ext cx="1928111" cy="1662165"/>
            </a:xfrm>
            <a:prstGeom prst="triangle">
              <a:avLst/>
            </a:prstGeom>
            <a:noFill/>
            <a:ln w="19050" cap="rnd">
              <a:solidFill>
                <a:srgbClr val="FF6464"/>
              </a:solidFill>
              <a:prstDash val="sysDot"/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srgbClr val="FF64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3" name="Равнобедренный треугольник 112"/>
            <p:cNvSpPr/>
            <p:nvPr/>
          </p:nvSpPr>
          <p:spPr>
            <a:xfrm>
              <a:off x="2300062" y="1171660"/>
              <a:ext cx="1738377" cy="1498600"/>
            </a:xfrm>
            <a:prstGeom prst="triangle">
              <a:avLst/>
            </a:prstGeom>
            <a:noFill/>
            <a:ln w="19050" cap="rnd">
              <a:solidFill>
                <a:srgbClr val="FF6464"/>
              </a:solidFill>
              <a:round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srgbClr val="FF6464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14" name="TextBox 113"/>
            <p:cNvSpPr txBox="1"/>
            <p:nvPr/>
          </p:nvSpPr>
          <p:spPr>
            <a:xfrm>
              <a:off x="2589787" y="2242383"/>
              <a:ext cx="1180965" cy="40145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FF6464"/>
                  </a:solidFill>
                  <a:effectLst/>
                  <a:uLnTx/>
                  <a:uFillTx/>
                  <a:latin typeface="Segoe UI Semibold" panose="020B0702040204020203" pitchFamily="34" charset="0"/>
                  <a:ea typeface="PT Root UI" panose="020B0303020202020204" pitchFamily="34" charset="-52"/>
                  <a:cs typeface="Segoe UI Semibold" panose="020B0702040204020203" pitchFamily="34" charset="0"/>
                </a:rPr>
                <a:t>и малых</a:t>
              </a:r>
              <a:endPara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srgbClr val="FF6464"/>
                </a:solidFill>
                <a:effectLst/>
                <a:uLnTx/>
                <a:uFillTx/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endParaRPr>
            </a:p>
          </p:txBody>
        </p:sp>
        <p:sp>
          <p:nvSpPr>
            <p:cNvPr id="115" name="TextBox 114"/>
            <p:cNvSpPr txBox="1"/>
            <p:nvPr/>
          </p:nvSpPr>
          <p:spPr>
            <a:xfrm>
              <a:off x="2694794" y="1793678"/>
              <a:ext cx="982100" cy="476236"/>
            </a:xfrm>
            <a:prstGeom prst="rect">
              <a:avLst/>
            </a:prstGeom>
            <a:noFill/>
            <a:ln>
              <a:noFill/>
            </a:ln>
          </p:spPr>
          <p:txBody>
            <a:bodyPr wrap="non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ts val="17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100" noProof="0" dirty="0" smtClean="0">
                  <a:solidFill>
                    <a:srgbClr val="FF6464"/>
                  </a:solidFill>
                  <a:latin typeface="Segoe UI Semibold" panose="020B0702040204020203" pitchFamily="34" charset="0"/>
                  <a:ea typeface="PT Root UI Bold" panose="020B0603020202020204" pitchFamily="34" charset="-52"/>
                  <a:cs typeface="Segoe UI Semibold" panose="020B0702040204020203" pitchFamily="34" charset="0"/>
                </a:rPr>
                <a:t>микро</a:t>
              </a:r>
              <a:endParaRPr kumimoji="0" lang="ru-RU" sz="1100" i="0" u="none" strike="noStrike" kern="1200" cap="none" spc="0" normalizeH="0" baseline="0" noProof="0" dirty="0">
                <a:ln>
                  <a:noFill/>
                </a:ln>
                <a:solidFill>
                  <a:srgbClr val="FF6464"/>
                </a:solidFill>
                <a:effectLst/>
                <a:uLnTx/>
                <a:uFillTx/>
                <a:latin typeface="Segoe UI Semibold" panose="020B0702040204020203" pitchFamily="34" charset="0"/>
                <a:ea typeface="PT Root UI Bold" panose="020B0603020202020204" pitchFamily="34" charset="-52"/>
                <a:cs typeface="Segoe UI Semibold" panose="020B0702040204020203" pitchFamily="34" charset="0"/>
              </a:endParaRPr>
            </a:p>
          </p:txBody>
        </p:sp>
        <p:cxnSp>
          <p:nvCxnSpPr>
            <p:cNvPr id="116" name="Прямая соединительная линия 115"/>
            <p:cNvCxnSpPr/>
            <p:nvPr/>
          </p:nvCxnSpPr>
          <p:spPr>
            <a:xfrm>
              <a:off x="2859946" y="1874648"/>
              <a:ext cx="601979" cy="0"/>
            </a:xfrm>
            <a:prstGeom prst="line">
              <a:avLst/>
            </a:prstGeom>
            <a:ln w="15875" cap="rnd">
              <a:solidFill>
                <a:srgbClr val="FF646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Прямая соединительная линия 116"/>
            <p:cNvCxnSpPr/>
            <p:nvPr/>
          </p:nvCxnSpPr>
          <p:spPr>
            <a:xfrm>
              <a:off x="2547719" y="2292397"/>
              <a:ext cx="1250342" cy="0"/>
            </a:xfrm>
            <a:prstGeom prst="line">
              <a:avLst/>
            </a:prstGeom>
            <a:ln w="15875" cap="rnd">
              <a:solidFill>
                <a:srgbClr val="FF6464"/>
              </a:solidFill>
              <a:round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50" name="Рисунок 4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33474" y="6051996"/>
            <a:ext cx="2074411" cy="625435"/>
          </a:xfrm>
          <a:prstGeom prst="rect">
            <a:avLst/>
          </a:prstGeom>
        </p:spPr>
      </p:pic>
      <p:sp>
        <p:nvSpPr>
          <p:cNvPr id="51" name="Полилиния 50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8519545" y="6234467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sp>
        <p:nvSpPr>
          <p:cNvPr id="53" name="Полилиния 52"/>
          <p:cNvSpPr/>
          <p:nvPr/>
        </p:nvSpPr>
        <p:spPr>
          <a:xfrm>
            <a:off x="3249447" y="4353878"/>
            <a:ext cx="2622435" cy="1147662"/>
          </a:xfrm>
          <a:custGeom>
            <a:avLst/>
            <a:gdLst>
              <a:gd name="connsiteX0" fmla="*/ 139616 w 2622435"/>
              <a:gd name="connsiteY0" fmla="*/ 0 h 1147662"/>
              <a:gd name="connsiteX1" fmla="*/ 2482819 w 2622435"/>
              <a:gd name="connsiteY1" fmla="*/ 0 h 1147662"/>
              <a:gd name="connsiteX2" fmla="*/ 2622435 w 2622435"/>
              <a:gd name="connsiteY2" fmla="*/ 139616 h 1147662"/>
              <a:gd name="connsiteX3" fmla="*/ 2622435 w 2622435"/>
              <a:gd name="connsiteY3" fmla="*/ 1008046 h 1147662"/>
              <a:gd name="connsiteX4" fmla="*/ 2482819 w 2622435"/>
              <a:gd name="connsiteY4" fmla="*/ 1147662 h 1147662"/>
              <a:gd name="connsiteX5" fmla="*/ 139616 w 2622435"/>
              <a:gd name="connsiteY5" fmla="*/ 1147662 h 1147662"/>
              <a:gd name="connsiteX6" fmla="*/ 0 w 2622435"/>
              <a:gd name="connsiteY6" fmla="*/ 1008046 h 1147662"/>
              <a:gd name="connsiteX7" fmla="*/ 0 w 2622435"/>
              <a:gd name="connsiteY7" fmla="*/ 139616 h 1147662"/>
              <a:gd name="connsiteX8" fmla="*/ 139616 w 2622435"/>
              <a:gd name="connsiteY8" fmla="*/ 0 h 11476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22435" h="1147662">
                <a:moveTo>
                  <a:pt x="139616" y="0"/>
                </a:moveTo>
                <a:lnTo>
                  <a:pt x="2482819" y="0"/>
                </a:lnTo>
                <a:cubicBezTo>
                  <a:pt x="2559927" y="0"/>
                  <a:pt x="2622435" y="62508"/>
                  <a:pt x="2622435" y="139616"/>
                </a:cubicBezTo>
                <a:lnTo>
                  <a:pt x="2622435" y="1008046"/>
                </a:lnTo>
                <a:cubicBezTo>
                  <a:pt x="2622435" y="1085154"/>
                  <a:pt x="2559927" y="1147662"/>
                  <a:pt x="2482819" y="1147662"/>
                </a:cubicBezTo>
                <a:lnTo>
                  <a:pt x="139616" y="1147662"/>
                </a:lnTo>
                <a:cubicBezTo>
                  <a:pt x="62508" y="1147662"/>
                  <a:pt x="0" y="1085154"/>
                  <a:pt x="0" y="1008046"/>
                </a:cubicBezTo>
                <a:lnTo>
                  <a:pt x="0" y="139616"/>
                </a:lnTo>
                <a:cubicBezTo>
                  <a:pt x="0" y="62508"/>
                  <a:pt x="62508" y="0"/>
                  <a:pt x="139616" y="0"/>
                </a:cubicBezTo>
                <a:close/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24508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" name="Прямоугольник 43"/>
          <p:cNvSpPr/>
          <p:nvPr/>
        </p:nvSpPr>
        <p:spPr>
          <a:xfrm flipH="1">
            <a:off x="5228453" y="0"/>
            <a:ext cx="696354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115946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95000"/>
                </a:schemeClr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745221" y="557841"/>
            <a:ext cx="4088894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i="0" u="none" strike="noStrike" kern="1200" cap="none" spc="-12" normalizeH="0" baseline="0" noProof="0" dirty="0" smtClean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egoe UI Semibold" panose="020B0702040204020203" pitchFamily="34" charset="0"/>
                <a:ea typeface="PT Root UI Bold" panose="020B0303020202020204" pitchFamily="34" charset="-52"/>
                <a:cs typeface="Segoe UI Semibold" panose="020B0702040204020203" pitchFamily="34" charset="0"/>
              </a:rPr>
              <a:t>Сервис 360</a:t>
            </a:r>
            <a:r>
              <a:rPr kumimoji="0" lang="ru-RU" sz="3600" i="0" u="none" strike="noStrike" kern="1200" cap="none" spc="-15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egoe UI Semibold" panose="020B0702040204020203" pitchFamily="34" charset="0"/>
                <a:ea typeface="PT Root UI Bold" panose="020B0303020202020204" pitchFamily="34" charset="-52"/>
                <a:cs typeface="Segoe UI Semibold" panose="020B0702040204020203" pitchFamily="34" charset="0"/>
                <a:sym typeface="Symbol" panose="05050102010706020507" pitchFamily="18" charset="2"/>
              </a:rPr>
              <a:t> </a:t>
            </a:r>
            <a:r>
              <a:rPr kumimoji="0" lang="ru-RU" sz="3600" i="0" u="none" strike="noStrike" kern="1200" cap="none" spc="-12" normalizeH="0" baseline="0" noProof="0" dirty="0">
                <a:ln>
                  <a:noFill/>
                </a:ln>
                <a:solidFill>
                  <a:schemeClr val="accent2"/>
                </a:solidFill>
                <a:effectLst/>
                <a:uLnTx/>
                <a:uFillTx/>
                <a:latin typeface="Segoe UI Semibold" panose="020B0702040204020203" pitchFamily="34" charset="0"/>
                <a:ea typeface="PT Root UI Bold" panose="020B0303020202020204" pitchFamily="34" charset="-52"/>
                <a:cs typeface="Segoe UI Semibold" panose="020B0702040204020203" pitchFamily="34" charset="0"/>
              </a:rPr>
              <a:t>Корпорации МСП </a:t>
            </a:r>
            <a:endParaRPr kumimoji="0" lang="ru-RU" sz="3600" i="0" u="none" strike="noStrike" kern="1200" cap="none" spc="-12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egoe UI Semibold" panose="020B0702040204020203" pitchFamily="34" charset="0"/>
              <a:ea typeface="PT Root UI Bold" panose="020B0303020202020204" pitchFamily="34" charset="-52"/>
              <a:cs typeface="Segoe UI Semibold" panose="020B0702040204020203" pitchFamily="34" charset="0"/>
              <a:sym typeface="Symbol" panose="05050102010706020507" pitchFamily="18" charset="2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4" r="15715" b="28437"/>
          <a:stretch/>
        </p:blipFill>
        <p:spPr>
          <a:xfrm>
            <a:off x="5878470" y="1053865"/>
            <a:ext cx="1108415" cy="1080240"/>
          </a:xfrm>
          <a:prstGeom prst="rect">
            <a:avLst/>
          </a:prstGeom>
        </p:spPr>
      </p:pic>
      <p:sp>
        <p:nvSpPr>
          <p:cNvPr id="26" name="Прямоугольник 25"/>
          <p:cNvSpPr/>
          <p:nvPr/>
        </p:nvSpPr>
        <p:spPr>
          <a:xfrm>
            <a:off x="745220" y="2051868"/>
            <a:ext cx="3947550" cy="249299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</a:t>
            </a:r>
            <a:r>
              <a:rPr lang="ru-RU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особ </a:t>
            </a:r>
            <a:r>
              <a:rPr lang="ru-RU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ообщить о нарушении своих прав при </a:t>
            </a:r>
            <a:r>
              <a:rPr lang="ru-RU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роверках, получить поддержку и ответ </a:t>
            </a:r>
            <a:br>
              <a:rPr lang="ru-RU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</a:br>
            <a:r>
              <a:rPr lang="ru-RU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в </a:t>
            </a:r>
            <a:r>
              <a:rPr lang="ru-RU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жатые </a:t>
            </a:r>
            <a:r>
              <a:rPr lang="ru-RU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роки.</a:t>
            </a:r>
          </a:p>
          <a:p>
            <a:r>
              <a:rPr lang="ru-RU" dirty="0" smtClean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Сервис </a:t>
            </a:r>
            <a:r>
              <a:rPr lang="ru-RU" dirty="0"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разработан на базе «зеркального реестра проверок», который был создан по поручению Президента РФ</a:t>
            </a:r>
          </a:p>
          <a:p>
            <a:endParaRPr lang="ru-RU" dirty="0"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9566762" y="1188788"/>
            <a:ext cx="1473419" cy="436017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400"/>
              </a:lnSpc>
              <a:defRPr/>
            </a:pPr>
            <a:r>
              <a:rPr lang="en-US" sz="3600" spc="-150" dirty="0" smtClean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spc="-150" dirty="0" smtClean="0">
                <a:solidFill>
                  <a:schemeClr val="bg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000</a:t>
            </a:r>
            <a:endParaRPr kumimoji="0" lang="ru-RU" sz="3600" b="0" i="0" u="none" strike="noStrike" kern="1200" cap="none" spc="-150" normalizeH="0" baseline="0" noProof="0" dirty="0">
              <a:ln>
                <a:noFill/>
              </a:ln>
              <a:solidFill>
                <a:schemeClr val="bg2"/>
              </a:solidFill>
              <a:effectLst/>
              <a:uLnTx/>
              <a:uFillTx/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9566763" y="1641662"/>
            <a:ext cx="1965476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spcBef>
                <a:spcPts val="361"/>
              </a:spcBef>
              <a:spcAft>
                <a:spcPts val="657"/>
              </a:spcAft>
              <a:defRPr/>
            </a:pPr>
            <a:r>
              <a:rPr lang="ru-RU" sz="1600" spc="7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ращений </a:t>
            </a:r>
            <a:br>
              <a:rPr lang="ru-RU" sz="1600" spc="7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 smtClean="0">
                <a:solidFill>
                  <a:schemeClr val="bg1">
                    <a:lumMod val="9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мы помогли решить </a:t>
            </a:r>
            <a:endParaRPr lang="ru-RU" sz="1600" spc="7" dirty="0">
              <a:solidFill>
                <a:schemeClr val="bg1">
                  <a:lumMod val="9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636902" y="1188788"/>
            <a:ext cx="1370585" cy="43601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lnSpc>
                <a:spcPts val="3400"/>
              </a:lnSpc>
              <a:defRPr/>
            </a:pPr>
            <a:r>
              <a:rPr lang="en-US" sz="3600" spc="-150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&gt;</a:t>
            </a:r>
            <a:r>
              <a:rPr lang="ru-RU" sz="3600" spc="-150" dirty="0" smtClean="0">
                <a:solidFill>
                  <a:schemeClr val="accent2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3100</a:t>
            </a:r>
            <a:endParaRPr kumimoji="0" lang="ru-RU" sz="3600" b="0" i="0" u="none" strike="noStrike" kern="1200" cap="none" spc="-150" normalizeH="0" baseline="0" noProof="0" dirty="0">
              <a:ln>
                <a:noFill/>
              </a:ln>
              <a:solidFill>
                <a:schemeClr val="accent2"/>
              </a:solidFill>
              <a:effectLst/>
              <a:uLnTx/>
              <a:uFillTx/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9263531" y="1204508"/>
            <a:ext cx="0" cy="917583"/>
          </a:xfrm>
          <a:prstGeom prst="line">
            <a:avLst/>
          </a:prstGeom>
          <a:ln w="9525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7636902" y="1629648"/>
            <a:ext cx="1270100" cy="49244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 lvl="0">
              <a:spcBef>
                <a:spcPts val="361"/>
              </a:spcBef>
              <a:spcAft>
                <a:spcPts val="657"/>
              </a:spcAft>
              <a:defRPr/>
            </a:pPr>
            <a:r>
              <a:rPr lang="ru-RU" sz="160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братились за помощью</a:t>
            </a:r>
            <a:endParaRPr lang="ru-RU" sz="1600" spc="7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5809197" y="2731760"/>
            <a:ext cx="4447962" cy="53860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R="2786"/>
            <a:r>
              <a:rPr lang="ru-RU" sz="3500" spc="7" dirty="0">
                <a:gradFill>
                  <a:gsLst>
                    <a:gs pos="100000">
                      <a:schemeClr val="bg2"/>
                    </a:gs>
                    <a:gs pos="0">
                      <a:srgbClr val="FF6464"/>
                    </a:gs>
                  </a:gsLst>
                  <a:lin ang="0" scaled="0"/>
                </a:gradFill>
                <a:latin typeface="Segoe UI Semibold" panose="020B0702040204020203" pitchFamily="34" charset="0"/>
                <a:cs typeface="Segoe UI Semibold" panose="020B0702040204020203" pitchFamily="34" charset="0"/>
              </a:rPr>
              <a:t>Основные темы</a:t>
            </a:r>
          </a:p>
        </p:txBody>
      </p:sp>
      <p:sp>
        <p:nvSpPr>
          <p:cNvPr id="28" name="Прямоугольник 27"/>
          <p:cNvSpPr/>
          <p:nvPr/>
        </p:nvSpPr>
        <p:spPr>
          <a:xfrm>
            <a:off x="5809199" y="3496777"/>
            <a:ext cx="2703634" cy="20313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6700" marR="2786" indent="-266700">
              <a:spcAft>
                <a:spcPts val="1200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Льготное кредитование, кредитные каникулы</a:t>
            </a:r>
          </a:p>
          <a:p>
            <a:pPr marL="266700" marR="2786" indent="-266700">
              <a:spcAft>
                <a:spcPts val="1200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блемы, связанные</a:t>
            </a:r>
            <a:br>
              <a:rPr lang="ru-RU" sz="1600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 санкционным давлением</a:t>
            </a:r>
          </a:p>
          <a:p>
            <a:pPr marL="266700" marR="2786" indent="-266700">
              <a:spcAft>
                <a:spcPts val="1200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рушения </a:t>
            </a:r>
            <a:r>
              <a:rPr lang="ru-RU" sz="1600" spc="7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600" spc="7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о </a:t>
            </a:r>
            <a:r>
              <a:rPr lang="ru-RU" sz="1600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тороны </a:t>
            </a:r>
            <a:r>
              <a:rPr lang="ru-RU" sz="1600" spc="7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заказчиков</a:t>
            </a:r>
            <a:endParaRPr lang="ru-RU" sz="1600" spc="7" dirty="0">
              <a:solidFill>
                <a:schemeClr val="bg1">
                  <a:lumMod val="8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8803743" y="3496777"/>
            <a:ext cx="2965688" cy="218521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marL="266700" marR="2786" indent="-266700">
              <a:spcAft>
                <a:spcPts val="1200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spc="7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иски </a:t>
            </a:r>
            <a:r>
              <a:rPr lang="ru-RU" sz="1600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исполнения контрактов</a:t>
            </a:r>
          </a:p>
          <a:p>
            <a:pPr marL="266700" marR="2786" indent="-266700">
              <a:spcAft>
                <a:spcPts val="1200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обоснованные </a:t>
            </a:r>
            <a:r>
              <a:rPr lang="ru-RU" sz="1600" spc="7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600" spc="7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spc="7" dirty="0" smtClean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оверки </a:t>
            </a:r>
            <a:r>
              <a:rPr lang="ru-RU" sz="1600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ли нарушения</a:t>
            </a:r>
          </a:p>
          <a:p>
            <a:pPr marL="266700" marR="2786" indent="-266700">
              <a:spcAft>
                <a:spcPts val="1200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</a:pPr>
            <a:r>
              <a:rPr lang="ru-RU" sz="1600" spc="7" dirty="0">
                <a:solidFill>
                  <a:schemeClr val="bg1">
                    <a:lumMod val="8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Региональные меры поддержки</a:t>
            </a:r>
          </a:p>
          <a:p>
            <a:pPr marL="266700" marR="2786" indent="-266700">
              <a:spcAft>
                <a:spcPts val="1200"/>
              </a:spcAft>
              <a:buClr>
                <a:schemeClr val="accent2"/>
              </a:buClr>
              <a:buSzPct val="150000"/>
              <a:buFont typeface="Arial" panose="020B0604020202020204" pitchFamily="34" charset="0"/>
              <a:buChar char="•"/>
            </a:pPr>
            <a:endParaRPr lang="ru-RU" sz="1600" spc="7" dirty="0">
              <a:solidFill>
                <a:schemeClr val="bg1">
                  <a:lumMod val="85000"/>
                </a:schemeClr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12915" y="5959134"/>
            <a:ext cx="2074411" cy="625435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5809197" y="5822738"/>
            <a:ext cx="1976054" cy="184666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1746" lvl="0" indent="0" algn="l" defTabSz="914400" rtl="0" eaLnBrk="1" fontAlgn="auto" latinLnBrk="0" hangingPunct="1">
              <a:lnSpc>
                <a:spcPct val="100000"/>
              </a:lnSpc>
              <a:spcBef>
                <a:spcPts val="226"/>
              </a:spcBef>
              <a:spcAft>
                <a:spcPts val="412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3" normalizeH="0" baseline="0" noProof="0" dirty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по состоянию на </a:t>
            </a:r>
            <a:r>
              <a:rPr lang="ru-RU" sz="1200" spc="3" noProof="0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5</a:t>
            </a:r>
            <a:r>
              <a:rPr lang="ru-RU" sz="1200" spc="3" dirty="0" smtClean="0">
                <a:solidFill>
                  <a:schemeClr val="bg1">
                    <a:lumMod val="75000"/>
                  </a:schemeClr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r>
              <a:rPr kumimoji="0" lang="ru-RU" sz="1200" b="0" i="0" u="none" strike="noStrike" kern="1200" cap="none" spc="3" normalizeH="0" baseline="0" noProof="0" dirty="0" smtClean="0">
                <a:ln>
                  <a:noFill/>
                </a:ln>
                <a:solidFill>
                  <a:schemeClr val="bg1">
                    <a:lumMod val="75000"/>
                  </a:schemeClr>
                </a:solidFill>
                <a:effectLst/>
                <a:uLnTx/>
                <a:uFillTx/>
                <a:latin typeface="Segoe UI" panose="020B0502040204020203" pitchFamily="34" charset="0"/>
                <a:cs typeface="Segoe UI" panose="020B0502040204020203" pitchFamily="34" charset="0"/>
              </a:rPr>
              <a:t>08.2022</a:t>
            </a:r>
            <a:endParaRPr kumimoji="0" lang="ru-RU" sz="1200" b="0" i="0" u="none" strike="noStrike" kern="1200" cap="none" spc="3" normalizeH="0" baseline="0" noProof="0" dirty="0">
              <a:ln>
                <a:noFill/>
              </a:ln>
              <a:solidFill>
                <a:schemeClr val="bg1">
                  <a:lumMod val="75000"/>
                </a:schemeClr>
              </a:solidFill>
              <a:effectLst/>
              <a:uLnTx/>
              <a:uFillTx/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36866" name="Picture 2" descr="http://qrcoder.ru/code/?https%3A%2F%2Fcorpmsp.ru%2F360%2F&amp;4&amp;0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668" y="5501939"/>
            <a:ext cx="982513" cy="982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Рисунок 22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0901287" y="288619"/>
            <a:ext cx="595388" cy="307659"/>
          </a:xfrm>
          <a:prstGeom prst="rect">
            <a:avLst/>
          </a:prstGeom>
        </p:spPr>
      </p:pic>
      <p:sp>
        <p:nvSpPr>
          <p:cNvPr id="30" name="Полилиния 29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1857161" y="5783644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315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кругленный прямоугольник 1"/>
          <p:cNvSpPr/>
          <p:nvPr/>
        </p:nvSpPr>
        <p:spPr>
          <a:xfrm>
            <a:off x="5548738" y="863995"/>
            <a:ext cx="5962551" cy="1414409"/>
          </a:xfrm>
          <a:prstGeom prst="roundRect">
            <a:avLst>
              <a:gd name="adj" fmla="val 50000"/>
            </a:avLst>
          </a:pr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 smtClean="0"/>
              <a:t>яяяяяяя</a:t>
            </a:r>
            <a:endParaRPr lang="ru-RU" dirty="0"/>
          </a:p>
        </p:txBody>
      </p:sp>
      <p:sp>
        <p:nvSpPr>
          <p:cNvPr id="59" name="Овал 58"/>
          <p:cNvSpPr/>
          <p:nvPr/>
        </p:nvSpPr>
        <p:spPr>
          <a:xfrm>
            <a:off x="7924236" y="657068"/>
            <a:ext cx="645458" cy="645458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3" name="Овал 62"/>
          <p:cNvSpPr/>
          <p:nvPr/>
        </p:nvSpPr>
        <p:spPr>
          <a:xfrm>
            <a:off x="10866715" y="658495"/>
            <a:ext cx="645458" cy="645458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0" y="0"/>
            <a:ext cx="5082506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66" name="Номер слайда 1"/>
          <p:cNvSpPr txBox="1">
            <a:spLocks/>
          </p:cNvSpPr>
          <p:nvPr/>
        </p:nvSpPr>
        <p:spPr>
          <a:xfrm>
            <a:off x="11426739" y="6446613"/>
            <a:ext cx="509848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Segoe UI" panose="020B0502040204020203" pitchFamily="34" charset="0"/>
              <a:ea typeface="+mn-ea"/>
              <a:cs typeface="Segoe UI" panose="020B0502040204020203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DB21C0C5-6AD4-AF49-90A5-958F9466F586}"/>
              </a:ext>
            </a:extLst>
          </p:cNvPr>
          <p:cNvSpPr/>
          <p:nvPr/>
        </p:nvSpPr>
        <p:spPr>
          <a:xfrm>
            <a:off x="700092" y="560878"/>
            <a:ext cx="4849061" cy="166199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3600" spc="-100" dirty="0">
                <a:gradFill>
                  <a:gsLst>
                    <a:gs pos="0">
                      <a:srgbClr val="FF6464"/>
                    </a:gs>
                    <a:gs pos="100000">
                      <a:schemeClr val="bg2"/>
                    </a:gs>
                  </a:gsLst>
                  <a:lin ang="0" scaled="0"/>
                </a:gra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Площадка реструктуризации долгов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7658" b="-2220"/>
          <a:stretch/>
        </p:blipFill>
        <p:spPr>
          <a:xfrm>
            <a:off x="11330865" y="306998"/>
            <a:ext cx="595388" cy="307659"/>
          </a:xfrm>
          <a:prstGeom prst="rect">
            <a:avLst/>
          </a:prstGeom>
        </p:spPr>
      </p:pic>
      <p:sp>
        <p:nvSpPr>
          <p:cNvPr id="13" name="Номер слайда 1"/>
          <p:cNvSpPr txBox="1">
            <a:spLocks/>
          </p:cNvSpPr>
          <p:nvPr/>
        </p:nvSpPr>
        <p:spPr>
          <a:xfrm>
            <a:off x="11140884" y="6446613"/>
            <a:ext cx="48767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 marL="0" algn="r" defTabSz="914400" rtl="0" eaLnBrk="1" latinLnBrk="0" hangingPunct="1"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dirty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9</a:t>
            </a:r>
          </a:p>
        </p:txBody>
      </p:sp>
      <p:pic>
        <p:nvPicPr>
          <p:cNvPr id="52" name="Рисунок 5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56949" b="-5586"/>
          <a:stretch/>
        </p:blipFill>
        <p:spPr>
          <a:xfrm>
            <a:off x="10900742" y="306999"/>
            <a:ext cx="604745" cy="322513"/>
          </a:xfrm>
          <a:prstGeom prst="rect">
            <a:avLst/>
          </a:prstGeom>
        </p:spPr>
      </p:pic>
      <p:sp>
        <p:nvSpPr>
          <p:cNvPr id="54" name="TextBox 53"/>
          <p:cNvSpPr txBox="1"/>
          <p:nvPr/>
        </p:nvSpPr>
        <p:spPr>
          <a:xfrm>
            <a:off x="627500" y="2777681"/>
            <a:ext cx="4007253" cy="1077218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200"/>
              </a:spcBef>
              <a:defRPr sz="1300" b="1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r>
              <a:rPr lang="ru-RU" sz="1600" b="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Выработка мер и решений, создание благоприятных условий для реструктуризации задолженности </a:t>
            </a:r>
            <a:r>
              <a:rPr lang="ru-RU" sz="1600" b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600" b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600" b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и</a:t>
            </a:r>
            <a:r>
              <a:rPr lang="en-US" sz="1600" b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ru-RU" sz="1600" b="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едопущения банкротства</a:t>
            </a:r>
          </a:p>
        </p:txBody>
      </p:sp>
      <p:sp>
        <p:nvSpPr>
          <p:cNvPr id="56" name="TextBox 55"/>
          <p:cNvSpPr txBox="1"/>
          <p:nvPr/>
        </p:nvSpPr>
        <p:spPr>
          <a:xfrm>
            <a:off x="664536" y="4373130"/>
            <a:ext cx="3894373" cy="88229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ru-RU"/>
            </a:defPPr>
            <a:lvl1pPr>
              <a:spcBef>
                <a:spcPts val="200"/>
              </a:spcBef>
              <a:defRPr sz="1300" b="1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 marL="179388" indent="-179388">
              <a:buClr>
                <a:srgbClr val="FF6464"/>
              </a:buClr>
              <a:buFont typeface="Arial" panose="020B0604020202020204" pitchFamily="34" charset="0"/>
              <a:buChar char="•"/>
            </a:pPr>
            <a:r>
              <a:rPr lang="ru-RU" sz="1600" b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ставители </a:t>
            </a:r>
            <a:r>
              <a:rPr lang="ru-RU" sz="1600" b="0" spc="7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налоговых </a:t>
            </a:r>
            <a:r>
              <a:rPr lang="ru-RU" sz="1600" b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органов</a:t>
            </a:r>
          </a:p>
          <a:p>
            <a:pPr marL="179388" indent="-179388">
              <a:buClr>
                <a:srgbClr val="FF6464"/>
              </a:buClr>
              <a:buFont typeface="Arial" panose="020B0604020202020204" pitchFamily="34" charset="0"/>
              <a:buChar char="•"/>
            </a:pPr>
            <a:r>
              <a:rPr lang="ru-RU" sz="1600" b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Специалисты Корпорации МСП</a:t>
            </a:r>
          </a:p>
          <a:p>
            <a:pPr marL="179388" indent="-179388">
              <a:buClr>
                <a:srgbClr val="FF6464"/>
              </a:buClr>
              <a:buFont typeface="Arial" panose="020B0604020202020204" pitchFamily="34" charset="0"/>
              <a:buChar char="•"/>
            </a:pPr>
            <a:r>
              <a:rPr lang="ru-RU" sz="1600" b="0" spc="7" dirty="0" smtClean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Предприниматели-должники</a:t>
            </a:r>
            <a:endParaRPr lang="ru-RU" sz="1600" b="0" spc="7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62" name="Прямоугольник 61"/>
          <p:cNvSpPr/>
          <p:nvPr/>
        </p:nvSpPr>
        <p:spPr>
          <a:xfrm>
            <a:off x="718022" y="2424519"/>
            <a:ext cx="97807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400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Цель</a:t>
            </a:r>
            <a:endParaRPr lang="ru-RU" sz="2400" dirty="0">
              <a:solidFill>
                <a:schemeClr val="accent2"/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50" name="Полилиния 49"/>
          <p:cNvSpPr/>
          <p:nvPr/>
        </p:nvSpPr>
        <p:spPr>
          <a:xfrm>
            <a:off x="5549154" y="2450839"/>
            <a:ext cx="5947522" cy="1555850"/>
          </a:xfrm>
          <a:custGeom>
            <a:avLst/>
            <a:gdLst>
              <a:gd name="connsiteX0" fmla="*/ 777925 w 5782751"/>
              <a:gd name="connsiteY0" fmla="*/ 0 h 1555850"/>
              <a:gd name="connsiteX1" fmla="*/ 5004826 w 5782751"/>
              <a:gd name="connsiteY1" fmla="*/ 0 h 1555850"/>
              <a:gd name="connsiteX2" fmla="*/ 5782751 w 5782751"/>
              <a:gd name="connsiteY2" fmla="*/ 777925 h 1555850"/>
              <a:gd name="connsiteX3" fmla="*/ 5004826 w 5782751"/>
              <a:gd name="connsiteY3" fmla="*/ 1555850 h 1555850"/>
              <a:gd name="connsiteX4" fmla="*/ 777925 w 5782751"/>
              <a:gd name="connsiteY4" fmla="*/ 1555850 h 1555850"/>
              <a:gd name="connsiteX5" fmla="*/ 0 w 5782751"/>
              <a:gd name="connsiteY5" fmla="*/ 777925 h 1555850"/>
              <a:gd name="connsiteX6" fmla="*/ 777925 w 5782751"/>
              <a:gd name="connsiteY6" fmla="*/ 0 h 15558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782751" h="1555850">
                <a:moveTo>
                  <a:pt x="777925" y="0"/>
                </a:moveTo>
                <a:lnTo>
                  <a:pt x="5004826" y="0"/>
                </a:lnTo>
                <a:cubicBezTo>
                  <a:pt x="5434462" y="0"/>
                  <a:pt x="5782751" y="348289"/>
                  <a:pt x="5782751" y="777925"/>
                </a:cubicBezTo>
                <a:cubicBezTo>
                  <a:pt x="5782751" y="1207561"/>
                  <a:pt x="5434462" y="1555850"/>
                  <a:pt x="5004826" y="1555850"/>
                </a:cubicBezTo>
                <a:lnTo>
                  <a:pt x="777925" y="1555850"/>
                </a:lnTo>
                <a:cubicBezTo>
                  <a:pt x="348289" y="1555850"/>
                  <a:pt x="0" y="1207561"/>
                  <a:pt x="0" y="777925"/>
                </a:cubicBezTo>
                <a:cubicBezTo>
                  <a:pt x="0" y="348289"/>
                  <a:pt x="348289" y="0"/>
                  <a:pt x="777925" y="0"/>
                </a:cubicBezTo>
                <a:close/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64" name="Прямоугольник 63"/>
          <p:cNvSpPr/>
          <p:nvPr/>
        </p:nvSpPr>
        <p:spPr>
          <a:xfrm>
            <a:off x="747552" y="4002247"/>
            <a:ext cx="1918850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r>
              <a:rPr lang="ru-RU" sz="2400" dirty="0" smtClean="0">
                <a:solidFill>
                  <a:schemeClr val="accent2"/>
                </a:solidFill>
                <a:latin typeface="Segoe UI Semibold" panose="020B0702040204020203" pitchFamily="34" charset="0"/>
                <a:ea typeface="PT Root UI" panose="020B0303020202020204" pitchFamily="34" charset="-52"/>
                <a:cs typeface="Segoe UI Semibold" panose="020B0702040204020203" pitchFamily="34" charset="0"/>
              </a:rPr>
              <a:t>Участники</a:t>
            </a:r>
            <a:endParaRPr lang="ru-RU" sz="2400" dirty="0">
              <a:solidFill>
                <a:schemeClr val="accent2"/>
              </a:solidFill>
              <a:latin typeface="Segoe UI Semibold" panose="020B0702040204020203" pitchFamily="34" charset="0"/>
              <a:ea typeface="PT Root UI" panose="020B0303020202020204" pitchFamily="34" charset="-52"/>
              <a:cs typeface="Segoe UI Semibold" panose="020B0702040204020203" pitchFamily="34" charset="0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5704777" y="6059915"/>
            <a:ext cx="5614868" cy="5539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ru-RU"/>
            </a:defPPr>
            <a:lvl1pPr>
              <a:spcBef>
                <a:spcPts val="200"/>
              </a:spcBef>
              <a:defRPr sz="1300" b="1">
                <a:latin typeface="Segoe UI Light" panose="020B0502040204020203" pitchFamily="34" charset="0"/>
                <a:cs typeface="Segoe UI Light" panose="020B0502040204020203" pitchFamily="34" charset="0"/>
              </a:defRPr>
            </a:lvl1pPr>
          </a:lstStyle>
          <a:p>
            <a:pPr>
              <a:spcBef>
                <a:spcPts val="0"/>
              </a:spcBef>
            </a:pPr>
            <a:r>
              <a:rPr lang="ru-RU" sz="1200" b="0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бращения от предпринимателей </a:t>
            </a:r>
            <a:r>
              <a:rPr lang="ru-RU" sz="1200" b="0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Кировской области </a:t>
            </a:r>
            <a:r>
              <a:rPr lang="ru-RU" sz="1200" b="0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о </a:t>
            </a:r>
            <a:r>
              <a:rPr lang="ru-RU" sz="1200" b="0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содействии </a:t>
            </a:r>
            <a:r>
              <a:rPr lang="ru-RU" sz="1200" b="0" dirty="0" smtClean="0">
                <a:solidFill>
                  <a:srgbClr val="FF6464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в реструктуризации задолженности и недопущении банкротства в Корпорацию не поступали</a:t>
            </a:r>
            <a:endParaRPr lang="ru-RU" sz="1200" b="0" dirty="0">
              <a:solidFill>
                <a:srgbClr val="FF6464"/>
              </a:solidFill>
              <a:latin typeface="Segoe UI Semibold" panose="020B07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70" name="Прямоугольник 69"/>
          <p:cNvSpPr/>
          <p:nvPr/>
        </p:nvSpPr>
        <p:spPr>
          <a:xfrm>
            <a:off x="5666073" y="1352386"/>
            <a:ext cx="3443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554492"/>
            <a:r>
              <a:rPr lang="en-US" sz="2400" spc="-10" dirty="0" smtClean="0">
                <a:solidFill>
                  <a:srgbClr val="FF6464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1</a:t>
            </a:r>
            <a:endParaRPr lang="ru-RU" sz="2400" spc="-10" dirty="0">
              <a:solidFill>
                <a:srgbClr val="FF6464"/>
              </a:solidFill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903496" y="1143556"/>
            <a:ext cx="2527201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Через Сервис 360</a:t>
            </a:r>
            <a:r>
              <a:rPr lang="ru-RU" sz="1100" spc="-15" dirty="0" smtClean="0">
                <a:latin typeface="Segoe UI" panose="020B0502040204020203" pitchFamily="34" charset="0"/>
                <a:ea typeface="PT Root UI Bold" panose="020B0303020202020204" pitchFamily="34" charset="-52"/>
                <a:cs typeface="Segoe UI" panose="020B0502040204020203" pitchFamily="34" charset="0"/>
                <a:sym typeface="Symbol" panose="05050102010706020507" pitchFamily="18" charset="2"/>
              </a:rPr>
              <a:t></a:t>
            </a: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получение</a:t>
            </a:r>
            <a:r>
              <a:rPr lang="ru-RU" sz="11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 </a:t>
            </a:r>
            <a:br>
              <a:rPr lang="ru-RU" sz="1100" b="1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т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едпринимателя обращения </a:t>
            </a: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одействии </a:t>
            </a: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в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реструктуризации задолженности и недопущении банкротства</a:t>
            </a:r>
          </a:p>
        </p:txBody>
      </p:sp>
      <p:sp>
        <p:nvSpPr>
          <p:cNvPr id="46" name="Прямоугольник 45"/>
          <p:cNvSpPr/>
          <p:nvPr/>
        </p:nvSpPr>
        <p:spPr>
          <a:xfrm>
            <a:off x="8956967" y="1228196"/>
            <a:ext cx="2454232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Изучение представленных материалов специалистами Корпорации и представителями налоговых органов</a:t>
            </a:r>
          </a:p>
        </p:txBody>
      </p:sp>
      <p:sp>
        <p:nvSpPr>
          <p:cNvPr id="47" name="Прямоугольник 46"/>
          <p:cNvSpPr/>
          <p:nvPr/>
        </p:nvSpPr>
        <p:spPr>
          <a:xfrm>
            <a:off x="5903497" y="2674766"/>
            <a:ext cx="276214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рганизация рабочих встреч </a:t>
            </a:r>
            <a:b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с участием представителей </a:t>
            </a: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логовых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рганов, предпринимателей и специалистов Корпорации </a:t>
            </a: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/>
            </a:r>
            <a:b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</a:b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о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бсуждению реабилитационных </a:t>
            </a:r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оцедур</a:t>
            </a:r>
            <a:endParaRPr lang="ru-RU" sz="1100" dirty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8956967" y="2674766"/>
            <a:ext cx="2708934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правление в ФНС России ходатайства о рассмотрении возможности реструктуризации задолженности на определенных условиях (с учетом результатов обсуждения на рабочей встрече)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5912461" y="4395751"/>
            <a:ext cx="2602168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Принятие решения </a:t>
            </a:r>
            <a:endParaRPr lang="ru-RU" sz="1100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логовым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рганом </a:t>
            </a:r>
            <a:endParaRPr lang="ru-RU" sz="1100" dirty="0" smtClean="0">
              <a:latin typeface="Segoe UI" panose="020B0502040204020203" pitchFamily="34" charset="0"/>
              <a:ea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ru-RU" sz="1100" dirty="0" smtClean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о реструктуризации задолженности </a:t>
            </a:r>
            <a:r>
              <a:rPr lang="ru-RU" sz="1100" dirty="0">
                <a:latin typeface="Segoe UI" panose="020B0502040204020203" pitchFamily="34" charset="0"/>
                <a:ea typeface="Segoe UI" panose="020B0502040204020203" pitchFamily="34" charset="0"/>
                <a:cs typeface="Segoe UI" panose="020B0502040204020203" pitchFamily="34" charset="0"/>
              </a:rPr>
              <a:t>на определенных условиях</a:t>
            </a:r>
          </a:p>
        </p:txBody>
      </p:sp>
      <p:pic>
        <p:nvPicPr>
          <p:cNvPr id="58" name="Рисунок 5" descr="image00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9503" y="869816"/>
            <a:ext cx="545126" cy="219963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pic>
        <p:nvPicPr>
          <p:cNvPr id="61" name="Рисунок 6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46562" y="876456"/>
            <a:ext cx="503694" cy="263327"/>
          </a:xfrm>
          <a:prstGeom prst="rect">
            <a:avLst/>
          </a:prstGeom>
          <a:solidFill>
            <a:schemeClr val="bg1"/>
          </a:solidFill>
        </p:spPr>
      </p:pic>
      <p:grpSp>
        <p:nvGrpSpPr>
          <p:cNvPr id="5" name="Группа 4"/>
          <p:cNvGrpSpPr/>
          <p:nvPr/>
        </p:nvGrpSpPr>
        <p:grpSpPr>
          <a:xfrm>
            <a:off x="7926096" y="2352037"/>
            <a:ext cx="645458" cy="645458"/>
            <a:chOff x="8076074" y="2352037"/>
            <a:chExt cx="645458" cy="645458"/>
          </a:xfrm>
        </p:grpSpPr>
        <p:sp>
          <p:nvSpPr>
            <p:cNvPr id="65" name="Овал 64"/>
            <p:cNvSpPr/>
            <p:nvPr/>
          </p:nvSpPr>
          <p:spPr>
            <a:xfrm>
              <a:off x="8076074" y="2352037"/>
              <a:ext cx="645458" cy="64545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84" name="Рисунок 83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2057" y="2569998"/>
              <a:ext cx="503694" cy="263327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97" name="Прямоугольник 96"/>
          <p:cNvSpPr/>
          <p:nvPr/>
        </p:nvSpPr>
        <p:spPr>
          <a:xfrm>
            <a:off x="8695118" y="1352386"/>
            <a:ext cx="3443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554492"/>
            <a:r>
              <a:rPr lang="ru-RU" sz="2400" spc="-10" dirty="0" smtClean="0">
                <a:solidFill>
                  <a:srgbClr val="FF6464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2</a:t>
            </a:r>
            <a:endParaRPr lang="ru-RU" sz="2400" spc="-10" dirty="0">
              <a:solidFill>
                <a:srgbClr val="FF6464"/>
              </a:solidFill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98" name="Прямоугольник 97"/>
          <p:cNvSpPr/>
          <p:nvPr/>
        </p:nvSpPr>
        <p:spPr>
          <a:xfrm>
            <a:off x="5666073" y="3034027"/>
            <a:ext cx="3443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554492"/>
            <a:r>
              <a:rPr lang="ru-RU" sz="2400" spc="-10" dirty="0" smtClean="0">
                <a:solidFill>
                  <a:srgbClr val="FF6464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3</a:t>
            </a:r>
            <a:endParaRPr lang="ru-RU" sz="2400" spc="-10" dirty="0">
              <a:solidFill>
                <a:srgbClr val="FF6464"/>
              </a:solidFill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99" name="Прямоугольник 98"/>
          <p:cNvSpPr/>
          <p:nvPr/>
        </p:nvSpPr>
        <p:spPr>
          <a:xfrm>
            <a:off x="8695118" y="3034027"/>
            <a:ext cx="3443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554492"/>
            <a:r>
              <a:rPr lang="ru-RU" sz="2400" spc="-10" dirty="0" smtClean="0">
                <a:solidFill>
                  <a:srgbClr val="FF6464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4</a:t>
            </a:r>
            <a:endParaRPr lang="ru-RU" sz="2400" spc="-10" dirty="0">
              <a:solidFill>
                <a:srgbClr val="FF6464"/>
              </a:solidFill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sp>
        <p:nvSpPr>
          <p:cNvPr id="100" name="Прямоугольник 99"/>
          <p:cNvSpPr/>
          <p:nvPr/>
        </p:nvSpPr>
        <p:spPr>
          <a:xfrm>
            <a:off x="5666073" y="4562529"/>
            <a:ext cx="344324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ctr" defTabSz="554492"/>
            <a:r>
              <a:rPr lang="ru-RU" sz="2400" spc="-10" dirty="0" smtClean="0">
                <a:solidFill>
                  <a:srgbClr val="FF6464"/>
                </a:solidFill>
                <a:latin typeface="Segoe UI Semibold" panose="020B0702040204020203" pitchFamily="34" charset="0"/>
                <a:ea typeface="Segoe UI" panose="020B0502040204020203" pitchFamily="34" charset="0"/>
                <a:cs typeface="Segoe UI Semibold" panose="020B0702040204020203" pitchFamily="34" charset="0"/>
              </a:rPr>
              <a:t>5</a:t>
            </a:r>
            <a:endParaRPr lang="ru-RU" sz="2400" spc="-10" dirty="0">
              <a:solidFill>
                <a:srgbClr val="FF6464"/>
              </a:solidFill>
              <a:latin typeface="Segoe UI Semibold" panose="020B0702040204020203" pitchFamily="34" charset="0"/>
              <a:ea typeface="Segoe UI" panose="020B0502040204020203" pitchFamily="34" charset="0"/>
              <a:cs typeface="Segoe UI Semibold" panose="020B0702040204020203" pitchFamily="34" charset="0"/>
            </a:endParaRPr>
          </a:p>
        </p:txBody>
      </p:sp>
      <p:pic>
        <p:nvPicPr>
          <p:cNvPr id="39" name="Picture 2" descr="http://qrcoder.ru/code/?https%3A%2F%2Fcorpmsp.ru%2F360%2F&amp;4&amp;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008" y="5556432"/>
            <a:ext cx="982513" cy="9825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0" name="Полилиния 39" descr="Прямоугольник">
            <a:extLst>
              <a:ext uri="{FF2B5EF4-FFF2-40B4-BE49-F238E27FC236}">
                <a16:creationId xmlns:a16="http://schemas.microsoft.com/office/drawing/2014/main" id="{0D1EF200-FCF1-C349-8B28-88F1D241086F}"/>
              </a:ext>
            </a:extLst>
          </p:cNvPr>
          <p:cNvSpPr>
            <a:spLocks/>
          </p:cNvSpPr>
          <p:nvPr/>
        </p:nvSpPr>
        <p:spPr bwMode="auto">
          <a:xfrm>
            <a:off x="1890661" y="5982291"/>
            <a:ext cx="1009167" cy="262853"/>
          </a:xfrm>
          <a:custGeom>
            <a:avLst/>
            <a:gdLst>
              <a:gd name="connsiteX0" fmla="*/ 211524 w 1658755"/>
              <a:gd name="connsiteY0" fmla="*/ 0 h 432048"/>
              <a:gd name="connsiteX1" fmla="*/ 534967 w 1658755"/>
              <a:gd name="connsiteY1" fmla="*/ 0 h 432048"/>
              <a:gd name="connsiteX2" fmla="*/ 581746 w 1658755"/>
              <a:gd name="connsiteY2" fmla="*/ 0 h 432048"/>
              <a:gd name="connsiteX3" fmla="*/ 780497 w 1658755"/>
              <a:gd name="connsiteY3" fmla="*/ 0 h 432048"/>
              <a:gd name="connsiteX4" fmla="*/ 780539 w 1658755"/>
              <a:gd name="connsiteY4" fmla="*/ 0 h 432048"/>
              <a:gd name="connsiteX5" fmla="*/ 825351 w 1658755"/>
              <a:gd name="connsiteY5" fmla="*/ 0 h 432048"/>
              <a:gd name="connsiteX6" fmla="*/ 833404 w 1658755"/>
              <a:gd name="connsiteY6" fmla="*/ 0 h 432048"/>
              <a:gd name="connsiteX7" fmla="*/ 878216 w 1658755"/>
              <a:gd name="connsiteY7" fmla="*/ 0 h 432048"/>
              <a:gd name="connsiteX8" fmla="*/ 878258 w 1658755"/>
              <a:gd name="connsiteY8" fmla="*/ 0 h 432048"/>
              <a:gd name="connsiteX9" fmla="*/ 1077009 w 1658755"/>
              <a:gd name="connsiteY9" fmla="*/ 0 h 432048"/>
              <a:gd name="connsiteX10" fmla="*/ 1123789 w 1658755"/>
              <a:gd name="connsiteY10" fmla="*/ 0 h 432048"/>
              <a:gd name="connsiteX11" fmla="*/ 1447231 w 1658755"/>
              <a:gd name="connsiteY11" fmla="*/ 0 h 432048"/>
              <a:gd name="connsiteX12" fmla="*/ 1658755 w 1658755"/>
              <a:gd name="connsiteY12" fmla="*/ 216024 h 432048"/>
              <a:gd name="connsiteX13" fmla="*/ 1658753 w 1658755"/>
              <a:gd name="connsiteY13" fmla="*/ 216024 h 432048"/>
              <a:gd name="connsiteX14" fmla="*/ 1447229 w 1658755"/>
              <a:gd name="connsiteY14" fmla="*/ 432048 h 432048"/>
              <a:gd name="connsiteX15" fmla="*/ 825359 w 1658755"/>
              <a:gd name="connsiteY15" fmla="*/ 432046 h 432048"/>
              <a:gd name="connsiteX16" fmla="*/ 825352 w 1658755"/>
              <a:gd name="connsiteY16" fmla="*/ 432048 h 432048"/>
              <a:gd name="connsiteX17" fmla="*/ 211524 w 1658755"/>
              <a:gd name="connsiteY17" fmla="*/ 432046 h 432048"/>
              <a:gd name="connsiteX18" fmla="*/ 16621 w 1658755"/>
              <a:gd name="connsiteY18" fmla="*/ 300110 h 432048"/>
              <a:gd name="connsiteX19" fmla="*/ 0 w 1658755"/>
              <a:gd name="connsiteY19" fmla="*/ 216024 h 432048"/>
              <a:gd name="connsiteX20" fmla="*/ 16621 w 1658755"/>
              <a:gd name="connsiteY20" fmla="*/ 131939 h 432048"/>
              <a:gd name="connsiteX21" fmla="*/ 211524 w 1658755"/>
              <a:gd name="connsiteY21" fmla="*/ 0 h 4320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658755" h="432048">
                <a:moveTo>
                  <a:pt x="211524" y="0"/>
                </a:moveTo>
                <a:lnTo>
                  <a:pt x="534967" y="0"/>
                </a:lnTo>
                <a:lnTo>
                  <a:pt x="581746" y="0"/>
                </a:lnTo>
                <a:lnTo>
                  <a:pt x="780497" y="0"/>
                </a:lnTo>
                <a:lnTo>
                  <a:pt x="780539" y="0"/>
                </a:lnTo>
                <a:lnTo>
                  <a:pt x="825351" y="0"/>
                </a:lnTo>
                <a:lnTo>
                  <a:pt x="833404" y="0"/>
                </a:lnTo>
                <a:lnTo>
                  <a:pt x="878216" y="0"/>
                </a:lnTo>
                <a:lnTo>
                  <a:pt x="878258" y="0"/>
                </a:lnTo>
                <a:lnTo>
                  <a:pt x="1077009" y="0"/>
                </a:lnTo>
                <a:lnTo>
                  <a:pt x="1123789" y="0"/>
                </a:lnTo>
                <a:lnTo>
                  <a:pt x="1447231" y="0"/>
                </a:lnTo>
                <a:cubicBezTo>
                  <a:pt x="1564053" y="0"/>
                  <a:pt x="1658755" y="96717"/>
                  <a:pt x="1658755" y="216024"/>
                </a:cubicBezTo>
                <a:lnTo>
                  <a:pt x="1658753" y="216024"/>
                </a:lnTo>
                <a:cubicBezTo>
                  <a:pt x="1658753" y="335332"/>
                  <a:pt x="1564051" y="432048"/>
                  <a:pt x="1447229" y="432048"/>
                </a:cubicBezTo>
                <a:lnTo>
                  <a:pt x="825359" y="432046"/>
                </a:lnTo>
                <a:lnTo>
                  <a:pt x="825352" y="432048"/>
                </a:lnTo>
                <a:lnTo>
                  <a:pt x="211524" y="432046"/>
                </a:lnTo>
                <a:cubicBezTo>
                  <a:pt x="123907" y="432046"/>
                  <a:pt x="48733" y="377643"/>
                  <a:pt x="16621" y="300110"/>
                </a:cubicBezTo>
                <a:lnTo>
                  <a:pt x="0" y="216024"/>
                </a:lnTo>
                <a:lnTo>
                  <a:pt x="16621" y="131939"/>
                </a:lnTo>
                <a:cubicBezTo>
                  <a:pt x="48733" y="54404"/>
                  <a:pt x="123907" y="0"/>
                  <a:pt x="211524" y="0"/>
                </a:cubicBez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wrap="square" lIns="0" tIns="0" rIns="0" bIns="36000" anchor="ctr">
            <a:noAutofit/>
          </a:bodyPr>
          <a:lstStyle>
            <a:lvl1pPr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1pPr>
            <a:lvl2pPr marL="742950" indent="-28575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2pPr>
            <a:lvl3pPr marL="11430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3pPr>
            <a:lvl4pPr marL="16002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4pPr>
            <a:lvl5pPr marL="2057400" indent="-228600"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5pPr>
            <a:lvl6pPr marL="25146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6pPr>
            <a:lvl7pPr marL="29718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7pPr>
            <a:lvl8pPr marL="34290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8pPr>
            <a:lvl9pPr marL="3886200" indent="-228600" defTabSz="243681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rgbClr val="5E5E5E"/>
                </a:solidFill>
                <a:latin typeface="Helvetica Neue" panose="02000503000000020004" pitchFamily="2" charset="0"/>
                <a:cs typeface="Helvetica Neue" panose="02000503000000020004" pitchFamily="2" charset="0"/>
                <a:sym typeface="Helvetica Neue" panose="02000503000000020004" pitchFamily="2" charset="0"/>
              </a:defRPr>
            </a:lvl9pPr>
          </a:lstStyle>
          <a:p>
            <a:pPr algn="ctr" defTabSz="1218407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1200" spc="-12" dirty="0" smtClean="0">
                <a:solidFill>
                  <a:schemeClr val="bg1"/>
                </a:solidFill>
                <a:latin typeface="Segoe UI" panose="020B0502040204020203" pitchFamily="34" charset="0"/>
                <a:ea typeface="PT Root UI" panose="020B0303020202020204" pitchFamily="34" charset="-52"/>
                <a:cs typeface="Segoe UI" panose="020B0502040204020203" pitchFamily="34" charset="0"/>
              </a:rPr>
              <a:t>получить на</a:t>
            </a:r>
            <a:endParaRPr lang="ru-RU" altLang="ru-RU" sz="1200" spc="-12" dirty="0">
              <a:solidFill>
                <a:schemeClr val="bg1"/>
              </a:solidFill>
              <a:latin typeface="Segoe UI" panose="020B0502040204020203" pitchFamily="34" charset="0"/>
              <a:ea typeface="PT Root UI" panose="020B0303020202020204" pitchFamily="34" charset="-52"/>
              <a:cs typeface="Segoe UI" panose="020B0502040204020203" pitchFamily="34" charset="0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4527" y="6124741"/>
            <a:ext cx="2014993" cy="611866"/>
          </a:xfrm>
          <a:prstGeom prst="rect">
            <a:avLst/>
          </a:prstGeom>
        </p:spPr>
      </p:pic>
      <p:pic>
        <p:nvPicPr>
          <p:cNvPr id="45" name="Рисунок 44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64" r="15715" b="28437"/>
          <a:stretch/>
        </p:blipFill>
        <p:spPr>
          <a:xfrm>
            <a:off x="3616098" y="241124"/>
            <a:ext cx="829068" cy="807995"/>
          </a:xfrm>
          <a:prstGeom prst="rect">
            <a:avLst/>
          </a:prstGeom>
        </p:spPr>
      </p:pic>
      <p:grpSp>
        <p:nvGrpSpPr>
          <p:cNvPr id="51" name="Группа 50"/>
          <p:cNvGrpSpPr/>
          <p:nvPr/>
        </p:nvGrpSpPr>
        <p:grpSpPr>
          <a:xfrm>
            <a:off x="10857192" y="2352037"/>
            <a:ext cx="645458" cy="645458"/>
            <a:chOff x="8076074" y="2352037"/>
            <a:chExt cx="645458" cy="645458"/>
          </a:xfrm>
        </p:grpSpPr>
        <p:sp>
          <p:nvSpPr>
            <p:cNvPr id="53" name="Овал 52"/>
            <p:cNvSpPr/>
            <p:nvPr/>
          </p:nvSpPr>
          <p:spPr>
            <a:xfrm>
              <a:off x="8076074" y="2352037"/>
              <a:ext cx="645458" cy="645458"/>
            </a:xfrm>
            <a:prstGeom prst="ellipse">
              <a:avLst/>
            </a:prstGeom>
            <a:solidFill>
              <a:schemeClr val="bg1"/>
            </a:solidFill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55" name="Рисунок 5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42057" y="2569998"/>
              <a:ext cx="503694" cy="263327"/>
            </a:xfrm>
            <a:prstGeom prst="rect">
              <a:avLst/>
            </a:prstGeom>
            <a:solidFill>
              <a:schemeClr val="bg1"/>
            </a:solidFill>
          </p:spPr>
        </p:pic>
      </p:grpSp>
      <p:sp>
        <p:nvSpPr>
          <p:cNvPr id="60" name="Полилиния 59"/>
          <p:cNvSpPr/>
          <p:nvPr/>
        </p:nvSpPr>
        <p:spPr>
          <a:xfrm>
            <a:off x="5620027" y="4212656"/>
            <a:ext cx="2949668" cy="1174514"/>
          </a:xfrm>
          <a:custGeom>
            <a:avLst/>
            <a:gdLst>
              <a:gd name="connsiteX0" fmla="*/ 0 w 2949668"/>
              <a:gd name="connsiteY0" fmla="*/ 587256 h 1174514"/>
              <a:gd name="connsiteX1" fmla="*/ 0 w 2949668"/>
              <a:gd name="connsiteY1" fmla="*/ 587257 h 1174514"/>
              <a:gd name="connsiteX2" fmla="*/ 0 w 2949668"/>
              <a:gd name="connsiteY2" fmla="*/ 587257 h 1174514"/>
              <a:gd name="connsiteX3" fmla="*/ 587257 w 2949668"/>
              <a:gd name="connsiteY3" fmla="*/ 0 h 1174514"/>
              <a:gd name="connsiteX4" fmla="*/ 2362411 w 2949668"/>
              <a:gd name="connsiteY4" fmla="*/ 0 h 1174514"/>
              <a:gd name="connsiteX5" fmla="*/ 2949668 w 2949668"/>
              <a:gd name="connsiteY5" fmla="*/ 587257 h 1174514"/>
              <a:gd name="connsiteX6" fmla="*/ 2949667 w 2949668"/>
              <a:gd name="connsiteY6" fmla="*/ 587257 h 1174514"/>
              <a:gd name="connsiteX7" fmla="*/ 2480763 w 2949668"/>
              <a:gd name="connsiteY7" fmla="*/ 1162583 h 1174514"/>
              <a:gd name="connsiteX8" fmla="*/ 2362412 w 2949668"/>
              <a:gd name="connsiteY8" fmla="*/ 1174514 h 1174514"/>
              <a:gd name="connsiteX9" fmla="*/ 587257 w 2949668"/>
              <a:gd name="connsiteY9" fmla="*/ 1174513 h 1174514"/>
              <a:gd name="connsiteX10" fmla="*/ 11931 w 2949668"/>
              <a:gd name="connsiteY10" fmla="*/ 705609 h 1174514"/>
              <a:gd name="connsiteX11" fmla="*/ 0 w 2949668"/>
              <a:gd name="connsiteY11" fmla="*/ 587257 h 1174514"/>
              <a:gd name="connsiteX12" fmla="*/ 11931 w 2949668"/>
              <a:gd name="connsiteY12" fmla="*/ 468904 h 1174514"/>
              <a:gd name="connsiteX13" fmla="*/ 587257 w 2949668"/>
              <a:gd name="connsiteY13" fmla="*/ 0 h 117451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</a:cxnLst>
            <a:rect l="l" t="t" r="r" b="b"/>
            <a:pathLst>
              <a:path w="2949668" h="1174514">
                <a:moveTo>
                  <a:pt x="0" y="587256"/>
                </a:moveTo>
                <a:lnTo>
                  <a:pt x="0" y="587257"/>
                </a:lnTo>
                <a:lnTo>
                  <a:pt x="0" y="587257"/>
                </a:lnTo>
                <a:close/>
                <a:moveTo>
                  <a:pt x="587257" y="0"/>
                </a:moveTo>
                <a:lnTo>
                  <a:pt x="2362411" y="0"/>
                </a:lnTo>
                <a:cubicBezTo>
                  <a:pt x="2686744" y="0"/>
                  <a:pt x="2949668" y="262924"/>
                  <a:pt x="2949668" y="587257"/>
                </a:cubicBezTo>
                <a:lnTo>
                  <a:pt x="2949667" y="587257"/>
                </a:lnTo>
                <a:cubicBezTo>
                  <a:pt x="2949667" y="871049"/>
                  <a:pt x="2748366" y="1107824"/>
                  <a:pt x="2480763" y="1162583"/>
                </a:cubicBezTo>
                <a:lnTo>
                  <a:pt x="2362412" y="1174514"/>
                </a:lnTo>
                <a:lnTo>
                  <a:pt x="587257" y="1174513"/>
                </a:lnTo>
                <a:cubicBezTo>
                  <a:pt x="303466" y="1174513"/>
                  <a:pt x="66691" y="973212"/>
                  <a:pt x="11931" y="705609"/>
                </a:cubicBezTo>
                <a:lnTo>
                  <a:pt x="0" y="587257"/>
                </a:lnTo>
                <a:lnTo>
                  <a:pt x="11931" y="468904"/>
                </a:lnTo>
                <a:cubicBezTo>
                  <a:pt x="66691" y="201301"/>
                  <a:pt x="303466" y="0"/>
                  <a:pt x="587257" y="0"/>
                </a:cubicBezTo>
                <a:close/>
              </a:path>
            </a:pathLst>
          </a:custGeom>
          <a:noFill/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82" name="Овал 81"/>
          <p:cNvSpPr/>
          <p:nvPr/>
        </p:nvSpPr>
        <p:spPr>
          <a:xfrm>
            <a:off x="7920122" y="4069852"/>
            <a:ext cx="645458" cy="645458"/>
          </a:xfrm>
          <a:prstGeom prst="ellipse">
            <a:avLst/>
          </a:prstGeom>
          <a:solidFill>
            <a:schemeClr val="bg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7996765" y="4140272"/>
            <a:ext cx="497130" cy="518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3135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Другая 2">
      <a:dk1>
        <a:srgbClr val="191919"/>
      </a:dk1>
      <a:lt1>
        <a:sysClr val="window" lastClr="FFFFFF"/>
      </a:lt1>
      <a:dk2>
        <a:srgbClr val="006EF0"/>
      </a:dk2>
      <a:lt2>
        <a:srgbClr val="E6D6C7"/>
      </a:lt2>
      <a:accent1>
        <a:srgbClr val="006EF0"/>
      </a:accent1>
      <a:accent2>
        <a:srgbClr val="FF6464"/>
      </a:accent2>
      <a:accent3>
        <a:srgbClr val="FFFFFF"/>
      </a:accent3>
      <a:accent4>
        <a:srgbClr val="191919"/>
      </a:accent4>
      <a:accent5>
        <a:srgbClr val="FFB464"/>
      </a:accent5>
      <a:accent6>
        <a:srgbClr val="7DCDA0"/>
      </a:accent6>
      <a:hlink>
        <a:srgbClr val="006EF0"/>
      </a:hlink>
      <a:folHlink>
        <a:srgbClr val="7F7F7F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236</TotalTime>
  <Words>1687</Words>
  <Application>Microsoft Office PowerPoint</Application>
  <PresentationFormat>Широкоэкранный</PresentationFormat>
  <Paragraphs>338</Paragraphs>
  <Slides>18</Slides>
  <Notes>8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8</vt:i4>
      </vt:variant>
    </vt:vector>
  </HeadingPairs>
  <TitlesOfParts>
    <vt:vector size="31" baseType="lpstr">
      <vt:lpstr>Arial</vt:lpstr>
      <vt:lpstr>Calibri</vt:lpstr>
      <vt:lpstr>Calibri Light</vt:lpstr>
      <vt:lpstr>Helvetica Neue</vt:lpstr>
      <vt:lpstr>Montserrat Medium</vt:lpstr>
      <vt:lpstr>PT Root UI</vt:lpstr>
      <vt:lpstr>PT Root UI Bold</vt:lpstr>
      <vt:lpstr>PT Root UI Light</vt:lpstr>
      <vt:lpstr>Segoe UI</vt:lpstr>
      <vt:lpstr>Segoe UI Semibold</vt:lpstr>
      <vt:lpstr>Symbol</vt:lpstr>
      <vt:lpstr>Тема Office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Абрамова Евгения Вадимовна</dc:creator>
  <cp:lastModifiedBy>Комогоров Дмитрий Юрьевич</cp:lastModifiedBy>
  <cp:revision>678</cp:revision>
  <cp:lastPrinted>2022-05-17T14:56:52Z</cp:lastPrinted>
  <dcterms:created xsi:type="dcterms:W3CDTF">2022-02-09T17:47:39Z</dcterms:created>
  <dcterms:modified xsi:type="dcterms:W3CDTF">2022-08-25T13:54:43Z</dcterms:modified>
</cp:coreProperties>
</file>